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2.xml" ContentType="application/vnd.openxmlformats-officedocument.drawingml.chartshapes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1.xml" ContentType="application/vnd.openxmlformats-officedocument.presentationml.notesSlid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3.xml" ContentType="application/vnd.openxmlformats-officedocument.drawingml.chartshapes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3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4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5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6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7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8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9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0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1.xml" ContentType="application/vnd.openxmlformats-officedocument.drawingml.chart+xml"/>
  <Override PartName="/ppt/drawings/drawing4.xml" ContentType="application/vnd.openxmlformats-officedocument.drawingml.chartshapes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notesSlides/notesSlide2.xml" ContentType="application/vnd.openxmlformats-officedocument.presentationml.notesSlide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1.xml" ContentType="application/vnd.openxmlformats-officedocument.drawingml.chart+xml"/>
  <Override PartName="/ppt/theme/themeOverride2.xml" ContentType="application/vnd.openxmlformats-officedocument.themeOverride+xml"/>
  <Override PartName="/ppt/charts/chart4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3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44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0" r:id="rId1"/>
    <p:sldMasterId id="2147483719" r:id="rId2"/>
  </p:sldMasterIdLst>
  <p:notesMasterIdLst>
    <p:notesMasterId r:id="rId46"/>
  </p:notesMasterIdLst>
  <p:sldIdLst>
    <p:sldId id="256" r:id="rId3"/>
    <p:sldId id="2145706289" r:id="rId4"/>
    <p:sldId id="2145706272" r:id="rId5"/>
    <p:sldId id="276" r:id="rId6"/>
    <p:sldId id="278" r:id="rId7"/>
    <p:sldId id="280" r:id="rId8"/>
    <p:sldId id="263" r:id="rId9"/>
    <p:sldId id="2145706290" r:id="rId10"/>
    <p:sldId id="2145706291" r:id="rId11"/>
    <p:sldId id="2145706199" r:id="rId12"/>
    <p:sldId id="2145706201" r:id="rId13"/>
    <p:sldId id="2145706254" r:id="rId14"/>
    <p:sldId id="2145706205" r:id="rId15"/>
    <p:sldId id="2145706209" r:id="rId16"/>
    <p:sldId id="2145706269" r:id="rId17"/>
    <p:sldId id="2145706211" r:id="rId18"/>
    <p:sldId id="2145706212" r:id="rId19"/>
    <p:sldId id="2145706214" r:id="rId20"/>
    <p:sldId id="2145706216" r:id="rId21"/>
    <p:sldId id="2145706218" r:id="rId22"/>
    <p:sldId id="2145706220" r:id="rId23"/>
    <p:sldId id="2145706222" r:id="rId24"/>
    <p:sldId id="2145706224" r:id="rId25"/>
    <p:sldId id="2145706226" r:id="rId26"/>
    <p:sldId id="2145706228" r:id="rId27"/>
    <p:sldId id="2145706271" r:id="rId28"/>
    <p:sldId id="2145706232" r:id="rId29"/>
    <p:sldId id="2145706234" r:id="rId30"/>
    <p:sldId id="2145706230" r:id="rId31"/>
    <p:sldId id="2145706274" r:id="rId32"/>
    <p:sldId id="2145706287" r:id="rId33"/>
    <p:sldId id="2145706282" r:id="rId34"/>
    <p:sldId id="2145706277" r:id="rId35"/>
    <p:sldId id="2145706276" r:id="rId36"/>
    <p:sldId id="2145706278" r:id="rId37"/>
    <p:sldId id="2145706279" r:id="rId38"/>
    <p:sldId id="2145706281" r:id="rId39"/>
    <p:sldId id="2145706207" r:id="rId40"/>
    <p:sldId id="2145706280" r:id="rId41"/>
    <p:sldId id="2145706286" r:id="rId42"/>
    <p:sldId id="2145706288" r:id="rId43"/>
    <p:sldId id="2145706285" r:id="rId44"/>
    <p:sldId id="2145706283" r:id="rId45"/>
  </p:sldIdLst>
  <p:sldSz cx="6858000" cy="9144000" type="screen4x3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4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832" userDrawn="1">
          <p15:clr>
            <a:srgbClr val="A4A3A4"/>
          </p15:clr>
        </p15:guide>
        <p15:guide id="4" orient="horz" pos="52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369"/>
    <a:srgbClr val="0088B8"/>
    <a:srgbClr val="CC0000"/>
    <a:srgbClr val="FF6600"/>
    <a:srgbClr val="7F6000"/>
    <a:srgbClr val="9DC3E6"/>
    <a:srgbClr val="3366CC"/>
    <a:srgbClr val="339966"/>
    <a:srgbClr val="9999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38" autoAdjust="0"/>
    <p:restoredTop sz="94660" autoAdjust="0"/>
  </p:normalViewPr>
  <p:slideViewPr>
    <p:cSldViewPr snapToGrid="0" showGuides="1">
      <p:cViewPr varScale="1">
        <p:scale>
          <a:sx n="84" d="100"/>
          <a:sy n="84" d="100"/>
        </p:scale>
        <p:origin x="600" y="138"/>
      </p:cViewPr>
      <p:guideLst>
        <p:guide orient="horz" pos="3040"/>
        <p:guide pos="2160"/>
        <p:guide orient="horz" pos="832"/>
        <p:guide orient="horz" pos="5280"/>
      </p:guideLst>
    </p:cSldViewPr>
  </p:slideViewPr>
  <p:outlineViewPr>
    <p:cViewPr>
      <p:scale>
        <a:sx n="33" d="100"/>
        <a:sy n="33" d="100"/>
      </p:scale>
      <p:origin x="0" y="-3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0"/>
    </p:cViewPr>
  </p:sorterViewPr>
  <p:notesViewPr>
    <p:cSldViewPr snapToGrid="0">
      <p:cViewPr varScale="1">
        <p:scale>
          <a:sx n="80" d="100"/>
          <a:sy n="80" d="100"/>
        </p:scale>
        <p:origin x="405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3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0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&#1058;&#1077;&#1084;&#1080;&#1088;&#1093;&#1072;&#1085;&#1086;&#1074;&#1072;_&#1043;\Downloads\&#1063;&#1072;&#1089;&#1090;&#1086;&#1090;&#1072;%20&#1074;&#1079;&#1085;&#1086;&#1089;&#1086;&#1074;%20&#1079;&#1072;%202023%20&#1075;&#1086;&#1076;%20(1).xlsx" TargetMode="Externa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Excel27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8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9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0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1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2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3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4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5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6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7.xlsx"/><Relationship Id="rId1" Type="http://schemas.openxmlformats.org/officeDocument/2006/relationships/themeOverride" Target="../theme/themeOverride2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____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2!$D$13</c:f>
              <c:strCache>
                <c:ptCount val="1"/>
                <c:pt idx="0">
                  <c:v>жалдамалы</c:v>
                </c:pt>
              </c:strCache>
            </c:strRef>
          </c:tx>
          <c:spPr>
            <a:solidFill>
              <a:srgbClr val="1F4E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D$14:$D$18</c:f>
              <c:numCache>
                <c:formatCode>0%</c:formatCode>
                <c:ptCount val="3"/>
                <c:pt idx="0">
                  <c:v>0.79568087964913858</c:v>
                </c:pt>
                <c:pt idx="1">
                  <c:v>0.81793684841481351</c:v>
                </c:pt>
                <c:pt idx="2">
                  <c:v>0.8836212513673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61-4824-9C23-44340CCDC736}"/>
            </c:ext>
          </c:extLst>
        </c:ser>
        <c:ser>
          <c:idx val="1"/>
          <c:order val="1"/>
          <c:tx>
            <c:strRef>
              <c:f>Лист2!$E$13</c:f>
              <c:strCache>
                <c:ptCount val="1"/>
                <c:pt idx="0">
                  <c:v>аралас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66666666666676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E$14:$E$18</c:f>
              <c:numCache>
                <c:formatCode>0%</c:formatCode>
                <c:ptCount val="3"/>
                <c:pt idx="0">
                  <c:v>8.4607515286202556E-2</c:v>
                </c:pt>
                <c:pt idx="1">
                  <c:v>6.5840921926312593E-2</c:v>
                </c:pt>
                <c:pt idx="2">
                  <c:v>5.594831296911542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1-4824-9C23-44340CCDC736}"/>
            </c:ext>
          </c:extLst>
        </c:ser>
        <c:ser>
          <c:idx val="2"/>
          <c:order val="2"/>
          <c:tx>
            <c:strRef>
              <c:f>Лист2!$F$13</c:f>
              <c:strCache>
                <c:ptCount val="1"/>
                <c:pt idx="0">
                  <c:v>жеке кәсіпер</c:v>
                </c:pt>
              </c:strCache>
            </c:strRef>
          </c:tx>
          <c:spPr>
            <a:solidFill>
              <a:srgbClr val="DAE3F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F$14:$F$18</c:f>
              <c:numCache>
                <c:formatCode>0%</c:formatCode>
                <c:ptCount val="3"/>
                <c:pt idx="0">
                  <c:v>9.1632965534153246E-2</c:v>
                </c:pt>
                <c:pt idx="1">
                  <c:v>7.7238248700124287E-2</c:v>
                </c:pt>
                <c:pt idx="2">
                  <c:v>6.41801694852955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1-4824-9C23-44340CCDC736}"/>
            </c:ext>
          </c:extLst>
        </c:ser>
        <c:ser>
          <c:idx val="3"/>
          <c:order val="3"/>
          <c:tx>
            <c:strRef>
              <c:f>Лист2!$G$13</c:f>
              <c:strCache>
                <c:ptCount val="1"/>
                <c:pt idx="0">
                  <c:v>бірыңғай жиынтық төлем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5555555555555558E-3"/>
                  <c:y val="7.55001887504717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G$14:$G$18</c:f>
              <c:numCache>
                <c:formatCode>0%</c:formatCode>
                <c:ptCount val="3"/>
                <c:pt idx="0">
                  <c:v>2.80786395305056E-2</c:v>
                </c:pt>
                <c:pt idx="1">
                  <c:v>3.8983980958749581E-2</c:v>
                </c:pt>
                <c:pt idx="2">
                  <c:v>4.66037478504492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1-4824-9C23-44340CCDC7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91716016"/>
        <c:axId val="790947712"/>
      </c:barChart>
      <c:catAx>
        <c:axId val="791716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90947712"/>
        <c:crosses val="autoZero"/>
        <c:auto val="1"/>
        <c:lblAlgn val="ctr"/>
        <c:lblOffset val="100"/>
        <c:noMultiLvlLbl val="0"/>
      </c:catAx>
      <c:valAx>
        <c:axId val="7909477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9171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4734066159420521E-2"/>
          <c:y val="0.84319540470889398"/>
          <c:w val="0.91037534394275688"/>
          <c:h val="0.111671425787624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645289923938091E-3"/>
          <c:y val="0.1214462193283969"/>
          <c:w val="0.48253078291901996"/>
          <c:h val="0.738933007040032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бір кезең үшін төлеуші немесе банк МӘСҚ шотына екі немесе одан да көп рет қате төлеген</c:v>
                </c:pt>
                <c:pt idx="1">
                  <c:v>төлем тапсырмасының тізімдік бөлігінде қызметкерлер үшін әлеуметтік аударымдар сомаларында қателіктер жіберілген</c:v>
                </c:pt>
                <c:pt idx="2">
                  <c:v>төлем кезеңіндегі қателер</c:v>
                </c:pt>
                <c:pt idx="3">
                  <c:v>төлем тағайындау коды дұрыс көрсетілмеген</c:v>
                </c:pt>
                <c:pt idx="4">
                  <c:v>басқалары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1099999999999998</c:v>
                </c:pt>
                <c:pt idx="1">
                  <c:v>0.35699999999999998</c:v>
                </c:pt>
                <c:pt idx="2">
                  <c:v>0.13100000000000001</c:v>
                </c:pt>
                <c:pt idx="3">
                  <c:v>6.0999999999999999E-2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46222782443253"/>
          <c:y val="7.5142948594840275E-2"/>
          <c:w val="0.45944709094315395"/>
          <c:h val="0.8497141028103194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53299164004177E-2"/>
          <c:y val="1.812102458702692E-2"/>
          <c:w val="0.93184088310778979"/>
          <c:h val="0.69840634960955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лушы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20</c:f>
              <c:numCache>
                <c:formatCode>0</c:formatCode>
                <c:ptCount val="3"/>
                <c:pt idx="0" formatCode="0.0">
                  <c:v>1146.3030000000001</c:v>
                </c:pt>
                <c:pt idx="1">
                  <c:v>1163.5</c:v>
                </c:pt>
                <c:pt idx="2">
                  <c:v>1251.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9-4C02-95A7-EF25A1280B4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аңа тағайындаулар саны (мың адам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20</c:f>
              <c:numCache>
                <c:formatCode>0.0</c:formatCode>
                <c:ptCount val="3"/>
                <c:pt idx="0">
                  <c:v>691.13900000000001</c:v>
                </c:pt>
                <c:pt idx="1">
                  <c:v>696.3</c:v>
                </c:pt>
                <c:pt idx="2">
                  <c:v>81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9-4C02-95A7-EF25A1280B4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8548368"/>
        <c:axId val="73933217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мдер сомасы (млрд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236604155445658E-2"/>
                  <c:y val="-4.74620637703039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9-4C02-95A7-EF25A1280B49}"/>
                </c:ext>
              </c:extLst>
            </c:dLbl>
            <c:dLbl>
              <c:idx val="1"/>
              <c:layout>
                <c:manualLayout>
                  <c:x val="-3.9236604155445658E-2"/>
                  <c:y val="-6.6711531567990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89-4C02-95A7-EF25A1280B49}"/>
                </c:ext>
              </c:extLst>
            </c:dLbl>
            <c:dLbl>
              <c:idx val="2"/>
              <c:layout>
                <c:manualLayout>
                  <c:x val="-4.1174778436077066E-2"/>
                  <c:y val="-4.7462063770303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89-4C02-95A7-EF25A1280B49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20</c:f>
              <c:numCache>
                <c:formatCode>0</c:formatCode>
                <c:ptCount val="3"/>
                <c:pt idx="0">
                  <c:v>338.84043863507998</c:v>
                </c:pt>
                <c:pt idx="1">
                  <c:v>440.6</c:v>
                </c:pt>
                <c:pt idx="2">
                  <c:v>75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7389-4C02-95A7-EF25A1280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8088831"/>
        <c:axId val="1077236335"/>
      </c:lineChart>
      <c:catAx>
        <c:axId val="82854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39332176"/>
        <c:crosses val="autoZero"/>
        <c:auto val="1"/>
        <c:lblAlgn val="ctr"/>
        <c:lblOffset val="100"/>
        <c:noMultiLvlLbl val="0"/>
      </c:catAx>
      <c:valAx>
        <c:axId val="739332176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28548368"/>
        <c:crosses val="autoZero"/>
        <c:crossBetween val="between"/>
      </c:valAx>
      <c:valAx>
        <c:axId val="1077236335"/>
        <c:scaling>
          <c:orientation val="minMax"/>
          <c:max val="850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18088831"/>
        <c:crosses val="max"/>
        <c:crossBetween val="between"/>
      </c:valAx>
      <c:catAx>
        <c:axId val="51808883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77236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566678492271727E-2"/>
          <c:y val="0.825344766836831"/>
          <c:w val="0.95865661126639068"/>
          <c:h val="0.142628585943837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57465406537126"/>
          <c:y val="4.7255891629647169E-2"/>
          <c:w val="0.34359134517507134"/>
          <c:h val="0.888526470776518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669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0"/>
              <c:layout>
                <c:manualLayout>
                  <c:x val="4.4911716019412689E-3"/>
                  <c:y val="-6.0089532017534419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5.0302169489000789E-3"/>
                  <c:y val="-2.7167638734165136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еңбекке қабілеттілігінен айырылу жағдайы бойынша әлеуметтік төлем</c:v>
                </c:pt>
                <c:pt idx="1">
                  <c:v>асыраушысынан айрылу жағдайы бойынша әлеуметтік төлем</c:v>
                </c:pt>
                <c:pt idx="2">
                  <c:v>жұмысынан айырылу жағдайы бойынша әлеуметтік төлем</c:v>
                </c:pt>
                <c:pt idx="3">
                  <c:v>жүктілік және босану бойынша әлеуметтік төлем</c:v>
                </c:pt>
                <c:pt idx="4">
                  <c:v>бала күтімі бойынша әлеуметтік төлем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5.1999999999999998E-2</c:v>
                </c:pt>
                <c:pt idx="1">
                  <c:v>3.5999999999999997E-2</c:v>
                </c:pt>
                <c:pt idx="2">
                  <c:v>6.7000000000000004E-2</c:v>
                </c:pt>
                <c:pt idx="3">
                  <c:v>0.46400000000000002</c:v>
                </c:pt>
                <c:pt idx="4">
                  <c:v>0.38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164903978307478"/>
          <c:y val="7.5142948594840275E-2"/>
          <c:w val="0.43326030937022475"/>
          <c:h val="0.8497141028103194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533017443616"/>
          <c:y val="2.831402257541674E-2"/>
          <c:w val="0.62475311824959934"/>
          <c:h val="0.88449135388657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 регионы,12.23'!$B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B$4:$B$23</c:f>
            </c:numRef>
          </c:val>
          <c:extLst>
            <c:ext xmlns:c16="http://schemas.microsoft.com/office/drawing/2014/chart" uri="{C3380CC4-5D6E-409C-BE32-E72D297353CC}">
              <c16:uniqueId val="{00000000-E0C1-4A76-A521-9E96AD8CEF47}"/>
            </c:ext>
          </c:extLst>
        </c:ser>
        <c:ser>
          <c:idx val="1"/>
          <c:order val="1"/>
          <c:tx>
            <c:strRef>
              <c:f>'СВ регионы,12.23'!$C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C$4:$C$23</c:f>
            </c:numRef>
          </c:val>
          <c:extLst>
            <c:ext xmlns:c16="http://schemas.microsoft.com/office/drawing/2014/chart" uri="{C3380CC4-5D6E-409C-BE32-E72D297353CC}">
              <c16:uniqueId val="{00000001-E0C1-4A76-A521-9E96AD8CEF47}"/>
            </c:ext>
          </c:extLst>
        </c:ser>
        <c:ser>
          <c:idx val="2"/>
          <c:order val="2"/>
          <c:tx>
            <c:strRef>
              <c:f>'СВ регионы,12.23'!$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D$4:$D$23</c:f>
            </c:numRef>
          </c:val>
          <c:extLst>
            <c:ext xmlns:c16="http://schemas.microsoft.com/office/drawing/2014/chart" uri="{C3380CC4-5D6E-409C-BE32-E72D297353CC}">
              <c16:uniqueId val="{00000002-E0C1-4A76-A521-9E96AD8CEF47}"/>
            </c:ext>
          </c:extLst>
        </c:ser>
        <c:ser>
          <c:idx val="3"/>
          <c:order val="3"/>
          <c:tx>
            <c:strRef>
              <c:f>'СВ регионы,12.23'!$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E$4:$E$23</c:f>
            </c:numRef>
          </c:val>
          <c:extLst>
            <c:ext xmlns:c16="http://schemas.microsoft.com/office/drawing/2014/chart" uri="{C3380CC4-5D6E-409C-BE32-E72D297353CC}">
              <c16:uniqueId val="{00000003-E0C1-4A76-A521-9E96AD8CEF47}"/>
            </c:ext>
          </c:extLst>
        </c:ser>
        <c:ser>
          <c:idx val="4"/>
          <c:order val="4"/>
          <c:tx>
            <c:strRef>
              <c:f>'СВ регионы,12.23'!$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F$4:$F$23</c:f>
            </c:numRef>
          </c:val>
          <c:extLst>
            <c:ext xmlns:c16="http://schemas.microsoft.com/office/drawing/2014/chart" uri="{C3380CC4-5D6E-409C-BE32-E72D297353CC}">
              <c16:uniqueId val="{00000004-E0C1-4A76-A521-9E96AD8CEF47}"/>
            </c:ext>
          </c:extLst>
        </c:ser>
        <c:ser>
          <c:idx val="5"/>
          <c:order val="5"/>
          <c:tx>
            <c:strRef>
              <c:f>'СВ регионы,12.23'!$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G$4:$G$23</c:f>
            </c:numRef>
          </c:val>
          <c:extLst>
            <c:ext xmlns:c16="http://schemas.microsoft.com/office/drawing/2014/chart" uri="{C3380CC4-5D6E-409C-BE32-E72D297353CC}">
              <c16:uniqueId val="{00000005-E0C1-4A76-A521-9E96AD8CEF47}"/>
            </c:ext>
          </c:extLst>
        </c:ser>
        <c:ser>
          <c:idx val="6"/>
          <c:order val="6"/>
          <c:tx>
            <c:strRef>
              <c:f>'СВ регионы,12.23'!$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H$4:$H$23</c:f>
            </c:numRef>
          </c:val>
          <c:extLst>
            <c:ext xmlns:c16="http://schemas.microsoft.com/office/drawing/2014/chart" uri="{C3380CC4-5D6E-409C-BE32-E72D297353CC}">
              <c16:uniqueId val="{00000006-E0C1-4A76-A521-9E96AD8CEF47}"/>
            </c:ext>
          </c:extLst>
        </c:ser>
        <c:ser>
          <c:idx val="7"/>
          <c:order val="7"/>
          <c:tx>
            <c:strRef>
              <c:f>'СВ регионы,12.23'!$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I$4:$I$23</c:f>
            </c:numRef>
          </c:val>
          <c:extLst>
            <c:ext xmlns:c16="http://schemas.microsoft.com/office/drawing/2014/chart" uri="{C3380CC4-5D6E-409C-BE32-E72D297353CC}">
              <c16:uniqueId val="{00000007-E0C1-4A76-A521-9E96AD8CEF47}"/>
            </c:ext>
          </c:extLst>
        </c:ser>
        <c:ser>
          <c:idx val="8"/>
          <c:order val="8"/>
          <c:tx>
            <c:strRef>
              <c:f>'СВ регионы,12.23'!$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J$4:$J$23</c:f>
            </c:numRef>
          </c:val>
          <c:extLst>
            <c:ext xmlns:c16="http://schemas.microsoft.com/office/drawing/2014/chart" uri="{C3380CC4-5D6E-409C-BE32-E72D297353CC}">
              <c16:uniqueId val="{00000008-E0C1-4A76-A521-9E96AD8CEF47}"/>
            </c:ext>
          </c:extLst>
        </c:ser>
        <c:ser>
          <c:idx val="9"/>
          <c:order val="9"/>
          <c:tx>
            <c:strRef>
              <c:f>'СВ регионы,12.23'!$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K$4:$K$23</c:f>
            </c:numRef>
          </c:val>
          <c:extLst>
            <c:ext xmlns:c16="http://schemas.microsoft.com/office/drawing/2014/chart" uri="{C3380CC4-5D6E-409C-BE32-E72D297353CC}">
              <c16:uniqueId val="{00000009-E0C1-4A76-A521-9E96AD8CEF47}"/>
            </c:ext>
          </c:extLst>
        </c:ser>
        <c:ser>
          <c:idx val="10"/>
          <c:order val="10"/>
          <c:tx>
            <c:strRef>
              <c:f>'СВ регионы,12.23'!$L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L$4:$L$23</c:f>
            </c:numRef>
          </c:val>
          <c:extLst>
            <c:ext xmlns:c16="http://schemas.microsoft.com/office/drawing/2014/chart" uri="{C3380CC4-5D6E-409C-BE32-E72D297353CC}">
              <c16:uniqueId val="{0000000A-E0C1-4A76-A521-9E96AD8CEF47}"/>
            </c:ext>
          </c:extLst>
        </c:ser>
        <c:ser>
          <c:idx val="11"/>
          <c:order val="11"/>
          <c:tx>
            <c:strRef>
              <c:f>'СВ регионы,12.23'!$M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M$4:$M$23</c:f>
            </c:numRef>
          </c:val>
          <c:extLst>
            <c:ext xmlns:c16="http://schemas.microsoft.com/office/drawing/2014/chart" uri="{C3380CC4-5D6E-409C-BE32-E72D297353CC}">
              <c16:uniqueId val="{0000000B-E0C1-4A76-A521-9E96AD8CEF47}"/>
            </c:ext>
          </c:extLst>
        </c:ser>
        <c:ser>
          <c:idx val="12"/>
          <c:order val="12"/>
          <c:tx>
            <c:strRef>
              <c:f>'СВ регионы,12.23'!$N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N$4:$N$23</c:f>
            </c:numRef>
          </c:val>
          <c:extLst>
            <c:ext xmlns:c16="http://schemas.microsoft.com/office/drawing/2014/chart" uri="{C3380CC4-5D6E-409C-BE32-E72D297353CC}">
              <c16:uniqueId val="{0000000C-E0C1-4A76-A521-9E96AD8CEF47}"/>
            </c:ext>
          </c:extLst>
        </c:ser>
        <c:ser>
          <c:idx val="13"/>
          <c:order val="13"/>
          <c:tx>
            <c:strRef>
              <c:f>'СВ регионы,12.23'!$O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O$4:$O$23</c:f>
            </c:numRef>
          </c:val>
          <c:extLst>
            <c:ext xmlns:c16="http://schemas.microsoft.com/office/drawing/2014/chart" uri="{C3380CC4-5D6E-409C-BE32-E72D297353CC}">
              <c16:uniqueId val="{0000000D-E0C1-4A76-A521-9E96AD8CEF47}"/>
            </c:ext>
          </c:extLst>
        </c:ser>
        <c:ser>
          <c:idx val="14"/>
          <c:order val="14"/>
          <c:tx>
            <c:strRef>
              <c:f>'СВ регионы,12.23'!$P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P$4:$P$23</c:f>
            </c:numRef>
          </c:val>
          <c:extLst>
            <c:ext xmlns:c16="http://schemas.microsoft.com/office/drawing/2014/chart" uri="{C3380CC4-5D6E-409C-BE32-E72D297353CC}">
              <c16:uniqueId val="{0000000E-E0C1-4A76-A521-9E96AD8CEF47}"/>
            </c:ext>
          </c:extLst>
        </c:ser>
        <c:ser>
          <c:idx val="15"/>
          <c:order val="15"/>
          <c:tx>
            <c:strRef>
              <c:f>'СВ регионы,12.23'!$Q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Q$4:$Q$23</c:f>
            </c:numRef>
          </c:val>
          <c:extLst>
            <c:ext xmlns:c16="http://schemas.microsoft.com/office/drawing/2014/chart" uri="{C3380CC4-5D6E-409C-BE32-E72D297353CC}">
              <c16:uniqueId val="{0000000F-E0C1-4A76-A521-9E96AD8CEF47}"/>
            </c:ext>
          </c:extLst>
        </c:ser>
        <c:ser>
          <c:idx val="16"/>
          <c:order val="16"/>
          <c:tx>
            <c:strRef>
              <c:f>'СВ регионы,12.23'!$R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R$4:$R$23</c:f>
            </c:numRef>
          </c:val>
          <c:extLst>
            <c:ext xmlns:c16="http://schemas.microsoft.com/office/drawing/2014/chart" uri="{C3380CC4-5D6E-409C-BE32-E72D297353CC}">
              <c16:uniqueId val="{00000010-E0C1-4A76-A521-9E96AD8CEF47}"/>
            </c:ext>
          </c:extLst>
        </c:ser>
        <c:ser>
          <c:idx val="17"/>
          <c:order val="17"/>
          <c:tx>
            <c:strRef>
              <c:f>'СВ регионы,12.23'!$S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S$4:$S$23</c:f>
            </c:numRef>
          </c:val>
          <c:extLst>
            <c:ext xmlns:c16="http://schemas.microsoft.com/office/drawing/2014/chart" uri="{C3380CC4-5D6E-409C-BE32-E72D297353CC}">
              <c16:uniqueId val="{00000011-E0C1-4A76-A521-9E96AD8CEF47}"/>
            </c:ext>
          </c:extLst>
        </c:ser>
        <c:ser>
          <c:idx val="18"/>
          <c:order val="18"/>
          <c:tx>
            <c:strRef>
              <c:f>'СВ регионы,12.23'!$T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T$4:$T$23</c:f>
            </c:numRef>
          </c:val>
          <c:extLst>
            <c:ext xmlns:c16="http://schemas.microsoft.com/office/drawing/2014/chart" uri="{C3380CC4-5D6E-409C-BE32-E72D297353CC}">
              <c16:uniqueId val="{00000012-E0C1-4A76-A521-9E96AD8CEF47}"/>
            </c:ext>
          </c:extLst>
        </c:ser>
        <c:ser>
          <c:idx val="19"/>
          <c:order val="19"/>
          <c:tx>
            <c:strRef>
              <c:f>'СВ регионы,12.23'!$U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U$4:$U$23</c:f>
            </c:numRef>
          </c:val>
          <c:extLst>
            <c:ext xmlns:c16="http://schemas.microsoft.com/office/drawing/2014/chart" uri="{C3380CC4-5D6E-409C-BE32-E72D297353CC}">
              <c16:uniqueId val="{00000013-E0C1-4A76-A521-9E96AD8CEF47}"/>
            </c:ext>
          </c:extLst>
        </c:ser>
        <c:ser>
          <c:idx val="20"/>
          <c:order val="20"/>
          <c:tx>
            <c:strRef>
              <c:f>'СВ регионы,12.23'!$V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V$4:$V$23</c:f>
            </c:numRef>
          </c:val>
          <c:extLst>
            <c:ext xmlns:c16="http://schemas.microsoft.com/office/drawing/2014/chart" uri="{C3380CC4-5D6E-409C-BE32-E72D297353CC}">
              <c16:uniqueId val="{00000014-E0C1-4A76-A521-9E96AD8CEF47}"/>
            </c:ext>
          </c:extLst>
        </c:ser>
        <c:ser>
          <c:idx val="21"/>
          <c:order val="21"/>
          <c:tx>
            <c:strRef>
              <c:f>'СВ регионы,12.23'!$W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W$4:$W$23</c:f>
            </c:numRef>
          </c:val>
          <c:extLst>
            <c:ext xmlns:c16="http://schemas.microsoft.com/office/drawing/2014/chart" uri="{C3380CC4-5D6E-409C-BE32-E72D297353CC}">
              <c16:uniqueId val="{00000015-E0C1-4A76-A521-9E96AD8CEF47}"/>
            </c:ext>
          </c:extLst>
        </c:ser>
        <c:ser>
          <c:idx val="22"/>
          <c:order val="22"/>
          <c:tx>
            <c:strRef>
              <c:f>'СВ регионы,12.23'!$X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X$4:$X$23</c:f>
            </c:numRef>
          </c:val>
          <c:extLst>
            <c:ext xmlns:c16="http://schemas.microsoft.com/office/drawing/2014/chart" uri="{C3380CC4-5D6E-409C-BE32-E72D297353CC}">
              <c16:uniqueId val="{00000016-E0C1-4A76-A521-9E96AD8CEF47}"/>
            </c:ext>
          </c:extLst>
        </c:ser>
        <c:ser>
          <c:idx val="23"/>
          <c:order val="23"/>
          <c:tx>
            <c:strRef>
              <c:f>'СВ регионы,12.23'!$Y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Y$4:$Y$23</c:f>
            </c:numRef>
          </c:val>
          <c:extLst>
            <c:ext xmlns:c16="http://schemas.microsoft.com/office/drawing/2014/chart" uri="{C3380CC4-5D6E-409C-BE32-E72D297353CC}">
              <c16:uniqueId val="{00000017-E0C1-4A76-A521-9E96AD8CEF47}"/>
            </c:ext>
          </c:extLst>
        </c:ser>
        <c:ser>
          <c:idx val="24"/>
          <c:order val="24"/>
          <c:tx>
            <c:strRef>
              <c:f>'СВ регионы,12.23'!$Z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Z$4:$Z$23</c:f>
            </c:numRef>
          </c:val>
          <c:extLst>
            <c:ext xmlns:c16="http://schemas.microsoft.com/office/drawing/2014/chart" uri="{C3380CC4-5D6E-409C-BE32-E72D297353CC}">
              <c16:uniqueId val="{00000018-E0C1-4A76-A521-9E96AD8CEF47}"/>
            </c:ext>
          </c:extLst>
        </c:ser>
        <c:ser>
          <c:idx val="25"/>
          <c:order val="25"/>
          <c:tx>
            <c:strRef>
              <c:f>'СВ регионы,12.23'!$AA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A$4:$AA$23</c:f>
            </c:numRef>
          </c:val>
          <c:extLst>
            <c:ext xmlns:c16="http://schemas.microsoft.com/office/drawing/2014/chart" uri="{C3380CC4-5D6E-409C-BE32-E72D297353CC}">
              <c16:uniqueId val="{00000019-E0C1-4A76-A521-9E96AD8CEF47}"/>
            </c:ext>
          </c:extLst>
        </c:ser>
        <c:ser>
          <c:idx val="26"/>
          <c:order val="26"/>
          <c:tx>
            <c:strRef>
              <c:f>'СВ регионы,12.23'!$AB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B$4:$AB$23</c:f>
            </c:numRef>
          </c:val>
          <c:extLst>
            <c:ext xmlns:c16="http://schemas.microsoft.com/office/drawing/2014/chart" uri="{C3380CC4-5D6E-409C-BE32-E72D297353CC}">
              <c16:uniqueId val="{0000001A-E0C1-4A76-A521-9E96AD8CEF47}"/>
            </c:ext>
          </c:extLst>
        </c:ser>
        <c:ser>
          <c:idx val="27"/>
          <c:order val="27"/>
          <c:tx>
            <c:strRef>
              <c:f>'СВ регионы,12.23'!$AC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C$4:$AC$23</c:f>
            </c:numRef>
          </c:val>
          <c:extLst>
            <c:ext xmlns:c16="http://schemas.microsoft.com/office/drawing/2014/chart" uri="{C3380CC4-5D6E-409C-BE32-E72D297353CC}">
              <c16:uniqueId val="{0000001B-E0C1-4A76-A521-9E96AD8CEF47}"/>
            </c:ext>
          </c:extLst>
        </c:ser>
        <c:ser>
          <c:idx val="28"/>
          <c:order val="28"/>
          <c:tx>
            <c:strRef>
              <c:f>'СВ регионы,12.23'!$A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D$4:$AD$23</c:f>
            </c:numRef>
          </c:val>
          <c:extLst>
            <c:ext xmlns:c16="http://schemas.microsoft.com/office/drawing/2014/chart" uri="{C3380CC4-5D6E-409C-BE32-E72D297353CC}">
              <c16:uniqueId val="{0000001C-E0C1-4A76-A521-9E96AD8CEF47}"/>
            </c:ext>
          </c:extLst>
        </c:ser>
        <c:ser>
          <c:idx val="29"/>
          <c:order val="29"/>
          <c:tx>
            <c:strRef>
              <c:f>'СВ регионы,12.23'!$A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E$4:$AE$23</c:f>
            </c:numRef>
          </c:val>
          <c:extLst>
            <c:ext xmlns:c16="http://schemas.microsoft.com/office/drawing/2014/chart" uri="{C3380CC4-5D6E-409C-BE32-E72D297353CC}">
              <c16:uniqueId val="{0000001D-E0C1-4A76-A521-9E96AD8CEF47}"/>
            </c:ext>
          </c:extLst>
        </c:ser>
        <c:ser>
          <c:idx val="30"/>
          <c:order val="30"/>
          <c:tx>
            <c:strRef>
              <c:f>'СВ регионы,12.23'!$A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F$4:$AF$23</c:f>
            </c:numRef>
          </c:val>
          <c:extLst>
            <c:ext xmlns:c16="http://schemas.microsoft.com/office/drawing/2014/chart" uri="{C3380CC4-5D6E-409C-BE32-E72D297353CC}">
              <c16:uniqueId val="{0000001E-E0C1-4A76-A521-9E96AD8CEF47}"/>
            </c:ext>
          </c:extLst>
        </c:ser>
        <c:ser>
          <c:idx val="31"/>
          <c:order val="31"/>
          <c:tx>
            <c:strRef>
              <c:f>'СВ регионы,12.23'!$A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G$4:$AG$23</c:f>
            </c:numRef>
          </c:val>
          <c:extLst>
            <c:ext xmlns:c16="http://schemas.microsoft.com/office/drawing/2014/chart" uri="{C3380CC4-5D6E-409C-BE32-E72D297353CC}">
              <c16:uniqueId val="{0000001F-E0C1-4A76-A521-9E96AD8CEF47}"/>
            </c:ext>
          </c:extLst>
        </c:ser>
        <c:ser>
          <c:idx val="32"/>
          <c:order val="32"/>
          <c:tx>
            <c:strRef>
              <c:f>'СВ регионы,12.23'!$A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H$4:$AH$23</c:f>
            </c:numRef>
          </c:val>
          <c:extLst>
            <c:ext xmlns:c16="http://schemas.microsoft.com/office/drawing/2014/chart" uri="{C3380CC4-5D6E-409C-BE32-E72D297353CC}">
              <c16:uniqueId val="{00000020-E0C1-4A76-A521-9E96AD8CEF47}"/>
            </c:ext>
          </c:extLst>
        </c:ser>
        <c:ser>
          <c:idx val="33"/>
          <c:order val="33"/>
          <c:tx>
            <c:strRef>
              <c:f>'СВ регионы,12.23'!$A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I$4:$AI$23</c:f>
            </c:numRef>
          </c:val>
          <c:extLst>
            <c:ext xmlns:c16="http://schemas.microsoft.com/office/drawing/2014/chart" uri="{C3380CC4-5D6E-409C-BE32-E72D297353CC}">
              <c16:uniqueId val="{00000021-E0C1-4A76-A521-9E96AD8CEF47}"/>
            </c:ext>
          </c:extLst>
        </c:ser>
        <c:ser>
          <c:idx val="34"/>
          <c:order val="34"/>
          <c:tx>
            <c:strRef>
              <c:f>'СВ регионы,12.23'!$A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J$4:$AJ$23</c:f>
            </c:numRef>
          </c:val>
          <c:extLst>
            <c:ext xmlns:c16="http://schemas.microsoft.com/office/drawing/2014/chart" uri="{C3380CC4-5D6E-409C-BE32-E72D297353CC}">
              <c16:uniqueId val="{00000022-E0C1-4A76-A521-9E96AD8CEF47}"/>
            </c:ext>
          </c:extLst>
        </c:ser>
        <c:ser>
          <c:idx val="35"/>
          <c:order val="35"/>
          <c:tx>
            <c:strRef>
              <c:f>'СВ регионы,12.23'!$A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K$4:$AK$23</c:f>
            </c:numRef>
          </c:val>
          <c:extLst>
            <c:ext xmlns:c16="http://schemas.microsoft.com/office/drawing/2014/chart" uri="{C3380CC4-5D6E-409C-BE32-E72D297353CC}">
              <c16:uniqueId val="{00000023-E0C1-4A76-A521-9E96AD8CEF47}"/>
            </c:ext>
          </c:extLst>
        </c:ser>
        <c:ser>
          <c:idx val="36"/>
          <c:order val="36"/>
          <c:tx>
            <c:strRef>
              <c:f>'СВ регионы,12.23'!$AL$3</c:f>
              <c:strCache>
                <c:ptCount val="1"/>
                <c:pt idx="0">
                  <c:v>ӘТ алушылар (мың адам)*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455817789958225E-2"/>
                  <c:y val="-1.86752723893899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0C1-4A76-A521-9E96AD8CEF4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L$4:$AL$23</c:f>
              <c:numCache>
                <c:formatCode>_(* #\ ##0.0_);_(* \(#\ ##0.0\);_(* "-"??_);_(@_)</c:formatCode>
                <c:ptCount val="20"/>
                <c:pt idx="0">
                  <c:v>17.850999999999999</c:v>
                </c:pt>
                <c:pt idx="1">
                  <c:v>21.436</c:v>
                </c:pt>
                <c:pt idx="2">
                  <c:v>34.514000000000003</c:v>
                </c:pt>
                <c:pt idx="3">
                  <c:v>35.369</c:v>
                </c:pt>
                <c:pt idx="4">
                  <c:v>36.417000000000002</c:v>
                </c:pt>
                <c:pt idx="5">
                  <c:v>36.957999999999998</c:v>
                </c:pt>
                <c:pt idx="6">
                  <c:v>37.01</c:v>
                </c:pt>
                <c:pt idx="7">
                  <c:v>40.932000000000002</c:v>
                </c:pt>
                <c:pt idx="8">
                  <c:v>50.753999999999998</c:v>
                </c:pt>
                <c:pt idx="9">
                  <c:v>63.716000000000001</c:v>
                </c:pt>
                <c:pt idx="10">
                  <c:v>65.144000000000005</c:v>
                </c:pt>
                <c:pt idx="11">
                  <c:v>67.748000000000005</c:v>
                </c:pt>
                <c:pt idx="12">
                  <c:v>68.477999999999994</c:v>
                </c:pt>
                <c:pt idx="13">
                  <c:v>73.850999999999999</c:v>
                </c:pt>
                <c:pt idx="14">
                  <c:v>74.754999999999995</c:v>
                </c:pt>
                <c:pt idx="15">
                  <c:v>85.766999999999996</c:v>
                </c:pt>
                <c:pt idx="16">
                  <c:v>89.808000000000007</c:v>
                </c:pt>
                <c:pt idx="17">
                  <c:v>97.8</c:v>
                </c:pt>
                <c:pt idx="18">
                  <c:v>112.727</c:v>
                </c:pt>
                <c:pt idx="19">
                  <c:v>140.83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E0C1-4A76-A521-9E96AD8CEF47}"/>
            </c:ext>
          </c:extLst>
        </c:ser>
        <c:ser>
          <c:idx val="37"/>
          <c:order val="37"/>
          <c:tx>
            <c:strRef>
              <c:f>'СВ регионы,12.23'!$AM$3</c:f>
              <c:strCache>
                <c:ptCount val="1"/>
                <c:pt idx="0">
                  <c:v>жаңа тағайындаулар (мың адам)*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 обл.</c:v>
                </c:pt>
                <c:pt idx="2">
                  <c:v>Абай обл.</c:v>
                </c:pt>
                <c:pt idx="3">
                  <c:v>ШҚО</c:v>
                </c:pt>
                <c:pt idx="4">
                  <c:v>Павлодар обл.</c:v>
                </c:pt>
                <c:pt idx="5">
                  <c:v>Қостайнай обл.</c:v>
                </c:pt>
                <c:pt idx="6">
                  <c:v>Ақмола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Ақтөбе обл.</c:v>
                </c:pt>
                <c:pt idx="12">
                  <c:v>Атырау обл.</c:v>
                </c:pt>
                <c:pt idx="13">
                  <c:v>Маңғыстау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M$4:$AM$23</c:f>
              <c:numCache>
                <c:formatCode>_(* #\ ##0.0_);_(* \(#\ ##0.0\);_(* "-"??_);_(@_)</c:formatCode>
                <c:ptCount val="20"/>
                <c:pt idx="0">
                  <c:v>10.013</c:v>
                </c:pt>
                <c:pt idx="1">
                  <c:v>12.679</c:v>
                </c:pt>
                <c:pt idx="2">
                  <c:v>21.486999999999998</c:v>
                </c:pt>
                <c:pt idx="3">
                  <c:v>21.193000000000001</c:v>
                </c:pt>
                <c:pt idx="4">
                  <c:v>21.777999999999999</c:v>
                </c:pt>
                <c:pt idx="5">
                  <c:v>21.963999999999999</c:v>
                </c:pt>
                <c:pt idx="6">
                  <c:v>21.919</c:v>
                </c:pt>
                <c:pt idx="7">
                  <c:v>26.853000000000002</c:v>
                </c:pt>
                <c:pt idx="8">
                  <c:v>34.511000000000003</c:v>
                </c:pt>
                <c:pt idx="9">
                  <c:v>35.531999999999996</c:v>
                </c:pt>
                <c:pt idx="10">
                  <c:v>43.947000000000003</c:v>
                </c:pt>
                <c:pt idx="11">
                  <c:v>44.34</c:v>
                </c:pt>
                <c:pt idx="12">
                  <c:v>46.405999999999999</c:v>
                </c:pt>
                <c:pt idx="13">
                  <c:v>50.14</c:v>
                </c:pt>
                <c:pt idx="14">
                  <c:v>49.104999999999997</c:v>
                </c:pt>
                <c:pt idx="15">
                  <c:v>58.341999999999999</c:v>
                </c:pt>
                <c:pt idx="16">
                  <c:v>58.406999999999996</c:v>
                </c:pt>
                <c:pt idx="17">
                  <c:v>64.777000000000001</c:v>
                </c:pt>
                <c:pt idx="18">
                  <c:v>72.84</c:v>
                </c:pt>
                <c:pt idx="19">
                  <c:v>95.263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E0C1-4A76-A521-9E96AD8CEF4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71871471"/>
        <c:axId val="918331279"/>
      </c:barChart>
      <c:catAx>
        <c:axId val="7718714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18331279"/>
        <c:crosses val="autoZero"/>
        <c:auto val="1"/>
        <c:lblAlgn val="ctr"/>
        <c:lblOffset val="100"/>
        <c:noMultiLvlLbl val="0"/>
      </c:catAx>
      <c:valAx>
        <c:axId val="918331279"/>
        <c:scaling>
          <c:orientation val="minMax"/>
          <c:max val="150"/>
          <c:min val="0"/>
        </c:scaling>
        <c:delete val="1"/>
        <c:axPos val="b"/>
        <c:numFmt formatCode="_(* #\ ##0.0_);_(* \(#\ ##0.0\);_(* &quot;-&quot;??_);_(@_)" sourceLinked="1"/>
        <c:majorTickMark val="none"/>
        <c:minorTickMark val="none"/>
        <c:tickLblPos val="nextTo"/>
        <c:crossAx val="771871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оля получателей УТ    (2)'!$B$11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1:$E$11</c:f>
              <c:numCache>
                <c:formatCode>#,##0</c:formatCode>
                <c:ptCount val="3"/>
                <c:pt idx="0">
                  <c:v>94700</c:v>
                </c:pt>
                <c:pt idx="1">
                  <c:v>97645</c:v>
                </c:pt>
                <c:pt idx="2">
                  <c:v>100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BB-4DBA-A76D-A24836B7FEF2}"/>
            </c:ext>
          </c:extLst>
        </c:ser>
        <c:ser>
          <c:idx val="1"/>
          <c:order val="1"/>
          <c:tx>
            <c:strRef>
              <c:f>'Доля получателей УТ    (2)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2:$E$12</c:f>
            </c:numRef>
          </c:val>
          <c:extLst>
            <c:ext xmlns:c16="http://schemas.microsoft.com/office/drawing/2014/chart" uri="{C3380CC4-5D6E-409C-BE32-E72D297353CC}">
              <c16:uniqueId val="{00000001-57BB-4DBA-A76D-A24836B7FEF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09859535"/>
        <c:axId val="917665151"/>
      </c:barChart>
      <c:lineChart>
        <c:grouping val="standard"/>
        <c:varyColors val="0"/>
        <c:ser>
          <c:idx val="2"/>
          <c:order val="2"/>
          <c:tx>
            <c:strRef>
              <c:f>'Доля получателей УТ    (2)'!$B$13</c:f>
              <c:strCache>
                <c:ptCount val="1"/>
                <c:pt idx="0">
                  <c:v>төлемдер сомасы (млрд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55555555555554E-2"/>
                  <c:y val="-5.8333333333333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BB-4DBA-A76D-A24836B7FEF2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3:$E$13</c:f>
              <c:numCache>
                <c:formatCode>General</c:formatCode>
                <c:ptCount val="3"/>
                <c:pt idx="0">
                  <c:v>26.9</c:v>
                </c:pt>
                <c:pt idx="1">
                  <c:v>30.5</c:v>
                </c:pt>
                <c:pt idx="2">
                  <c:v>38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7BB-4DBA-A76D-A24836B7F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09872735"/>
        <c:axId val="498289759"/>
      </c:lineChart>
      <c:catAx>
        <c:axId val="10098595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17665151"/>
        <c:crosses val="autoZero"/>
        <c:auto val="1"/>
        <c:lblAlgn val="ctr"/>
        <c:lblOffset val="100"/>
        <c:noMultiLvlLbl val="0"/>
      </c:catAx>
      <c:valAx>
        <c:axId val="917665151"/>
        <c:scaling>
          <c:orientation val="minMax"/>
          <c:max val="1300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09859535"/>
        <c:crosses val="autoZero"/>
        <c:crossBetween val="between"/>
      </c:valAx>
      <c:valAx>
        <c:axId val="498289759"/>
        <c:scaling>
          <c:orientation val="minMax"/>
          <c:max val="4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09872735"/>
        <c:crosses val="max"/>
        <c:crossBetween val="between"/>
      </c:valAx>
      <c:catAx>
        <c:axId val="10098727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82897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993231810490696E-2"/>
          <c:y val="0"/>
          <c:w val="0.9255499153976311"/>
          <c:h val="0.781360191246433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ут новые назначения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ут новые назначения'!$C$11:$E$11</c:f>
            </c:numRef>
          </c:val>
          <c:extLst>
            <c:ext xmlns:c16="http://schemas.microsoft.com/office/drawing/2014/chart" uri="{C3380CC4-5D6E-409C-BE32-E72D297353CC}">
              <c16:uniqueId val="{00000000-BF24-447C-9DDD-F0399C343DB7}"/>
            </c:ext>
          </c:extLst>
        </c:ser>
        <c:ser>
          <c:idx val="1"/>
          <c:order val="1"/>
          <c:tx>
            <c:strRef>
              <c:f>'СВут новые назначения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ут новые назначения'!$C$12:$E$12</c:f>
              <c:numCache>
                <c:formatCode>#,##0</c:formatCode>
                <c:ptCount val="3"/>
                <c:pt idx="0">
                  <c:v>15166</c:v>
                </c:pt>
                <c:pt idx="1">
                  <c:v>15622</c:v>
                </c:pt>
                <c:pt idx="2">
                  <c:v>15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24-447C-9DDD-F0399C343D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042591"/>
        <c:axId val="94916063"/>
      </c:barChart>
      <c:catAx>
        <c:axId val="1604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94916063"/>
        <c:crosses val="autoZero"/>
        <c:auto val="1"/>
        <c:lblAlgn val="ctr"/>
        <c:lblOffset val="100"/>
        <c:noMultiLvlLbl val="0"/>
      </c:catAx>
      <c:valAx>
        <c:axId val="94916063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042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5172103487065"/>
          <c:y val="5.2848319885940194E-2"/>
          <c:w val="0.86646433990895289"/>
          <c:h val="0.610954865305629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Доля получателей УТ   '!$A$4:$B$4</c:f>
              <c:strCache>
                <c:ptCount val="2"/>
                <c:pt idx="0">
                  <c:v>еңбекке қабілетінен айырылу дәрежесі 30% - дан 60% - ға дейін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 blurRad="114300">
                <a:prstClr val="black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4C30-4F6D-B1EF-188E0C385F20}"/>
              </c:ext>
            </c:extLst>
          </c:dPt>
          <c:dPt>
            <c:idx val="1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4C30-4F6D-B1EF-188E0C385F20}"/>
              </c:ext>
            </c:extLst>
          </c:dPt>
          <c:dPt>
            <c:idx val="2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4C30-4F6D-B1EF-188E0C385F20}"/>
              </c:ext>
            </c:extLst>
          </c:dPt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4:$E$4</c:f>
              <c:numCache>
                <c:formatCode>0.0%</c:formatCode>
                <c:ptCount val="3"/>
                <c:pt idx="0">
                  <c:v>0.52510031678986269</c:v>
                </c:pt>
                <c:pt idx="1">
                  <c:v>0.54194275180500795</c:v>
                </c:pt>
                <c:pt idx="2">
                  <c:v>0.54208562764344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30-4F6D-B1EF-188E0C385F20}"/>
            </c:ext>
          </c:extLst>
        </c:ser>
        <c:ser>
          <c:idx val="1"/>
          <c:order val="1"/>
          <c:tx>
            <c:strRef>
              <c:f>'Доля получателей УТ   '!$A$5:$B$5</c:f>
              <c:strCache>
                <c:ptCount val="2"/>
                <c:pt idx="0">
                  <c:v>еңбекке қабілетінен айырылу дәрежесі 60% - дан 80% - ға дейін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5:$E$5</c:f>
              <c:numCache>
                <c:formatCode>0.0%</c:formatCode>
                <c:ptCount val="3"/>
                <c:pt idx="0">
                  <c:v>0.38583949313621962</c:v>
                </c:pt>
                <c:pt idx="1">
                  <c:v>0.36950176660351275</c:v>
                </c:pt>
                <c:pt idx="2">
                  <c:v>0.36596241321522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C30-4F6D-B1EF-188E0C385F20}"/>
            </c:ext>
          </c:extLst>
        </c:ser>
        <c:ser>
          <c:idx val="2"/>
          <c:order val="2"/>
          <c:tx>
            <c:strRef>
              <c:f>'Доля получателей УТ   '!$A$6:$B$6</c:f>
              <c:strCache>
                <c:ptCount val="2"/>
                <c:pt idx="0">
                  <c:v>еңбекке қабілетінен айырылу дәрежесі 80% - дан 100% - ға дейін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6:$E$6</c:f>
              <c:numCache>
                <c:formatCode>0.0%</c:formatCode>
                <c:ptCount val="3"/>
                <c:pt idx="0">
                  <c:v>8.9060190073917633E-2</c:v>
                </c:pt>
                <c:pt idx="1">
                  <c:v>8.8555481591479343E-2</c:v>
                </c:pt>
                <c:pt idx="2">
                  <c:v>9.19519591413295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30-4F6D-B1EF-188E0C385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100"/>
        <c:axId val="147017728"/>
        <c:axId val="147019264"/>
      </c:barChart>
      <c:catAx>
        <c:axId val="147017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7019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7019264"/>
        <c:scaling>
          <c:orientation val="minMax"/>
          <c:max val="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1470177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9.7682732076916495E-2"/>
          <c:y val="0.76462366362647982"/>
          <c:w val="0.85618954060684838"/>
          <c:h val="0.2112446960316501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03644382538487E-2"/>
          <c:y val="6.3461560349284182E-3"/>
          <c:w val="0.92995451828198239"/>
          <c:h val="0.71823954213848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 получ. УТ'!$A$24</c:f>
              <c:strCache>
                <c:ptCount val="1"/>
                <c:pt idx="0">
                  <c:v>20-дан 34-ке дейін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04655850045349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1D-4389-8012-430A807AF401}"/>
                </c:ext>
              </c:extLst>
            </c:dLbl>
            <c:dLbl>
              <c:idx val="1"/>
              <c:layout>
                <c:manualLayout>
                  <c:x val="-1.4780305591090429E-16"/>
                  <c:y val="-7.15179688896835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1D-4389-8012-430A807AF401}"/>
                </c:ext>
              </c:extLst>
            </c:dLbl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A1D-4389-8012-430A807AF401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1D-4389-8012-430A807AF401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A1D-4389-8012-430A807AF401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4:$Q$24</c:f>
              <c:numCache>
                <c:formatCode>_-* #,##0_-;\-* #,##0_-;_-* "-"??_-;_-@_-</c:formatCode>
                <c:ptCount val="2"/>
                <c:pt idx="0">
                  <c:v>3539</c:v>
                </c:pt>
                <c:pt idx="1">
                  <c:v>2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1D-4389-8012-430A807AF401}"/>
            </c:ext>
          </c:extLst>
        </c:ser>
        <c:ser>
          <c:idx val="1"/>
          <c:order val="1"/>
          <c:tx>
            <c:strRef>
              <c:f>'пол и возр получ. УТ'!$A$25</c:f>
              <c:strCache>
                <c:ptCount val="1"/>
                <c:pt idx="0">
                  <c:v>35-тен 49-ғ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091722801001148E-3"/>
                  <c:y val="-3.26927219203982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1D-4389-8012-430A807AF401}"/>
                </c:ext>
              </c:extLst>
            </c:dLbl>
            <c:dLbl>
              <c:idx val="2"/>
              <c:layout>
                <c:manualLayout>
                  <c:x val="4.311507430305925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A1D-4389-8012-430A807AF4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5:$Q$25</c:f>
              <c:numCache>
                <c:formatCode>_-* #,##0_-;\-* #,##0_-;_-* "-"??_-;_-@_-</c:formatCode>
                <c:ptCount val="2"/>
                <c:pt idx="0">
                  <c:v>16283</c:v>
                </c:pt>
                <c:pt idx="1">
                  <c:v>13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1D-4389-8012-430A807AF401}"/>
            </c:ext>
          </c:extLst>
        </c:ser>
        <c:ser>
          <c:idx val="2"/>
          <c:order val="2"/>
          <c:tx>
            <c:strRef>
              <c:f>'пол и возр получ. УТ'!$A$26</c:f>
              <c:strCache>
                <c:ptCount val="1"/>
                <c:pt idx="0">
                  <c:v>50-ден 64-ке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672611454588882E-3"/>
                  <c:y val="-1.3073116935972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A1D-4389-8012-430A807AF401}"/>
                </c:ext>
              </c:extLst>
            </c:dLbl>
            <c:dLbl>
              <c:idx val="2"/>
              <c:layout>
                <c:manualLayout>
                  <c:x val="-7.9235560395761401E-17"/>
                  <c:y val="-1.9607843137254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A1D-4389-8012-430A807AF40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6:$Q$26</c:f>
              <c:numCache>
                <c:formatCode>_-* #,##0_-;\-* #,##0_-;_-* "-"??_-;_-@_-</c:formatCode>
                <c:ptCount val="2"/>
                <c:pt idx="0">
                  <c:v>39640</c:v>
                </c:pt>
                <c:pt idx="1">
                  <c:v>24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D-4389-8012-430A807AF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5"/>
        <c:overlap val="100"/>
        <c:axId val="277746432"/>
        <c:axId val="277747968"/>
      </c:barChart>
      <c:catAx>
        <c:axId val="27774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277747968"/>
        <c:crosses val="autoZero"/>
        <c:auto val="1"/>
        <c:lblAlgn val="ctr"/>
        <c:lblOffset val="100"/>
        <c:noMultiLvlLbl val="0"/>
      </c:catAx>
      <c:valAx>
        <c:axId val="277747968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277746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637376069536867E-2"/>
          <c:y val="0.83057662970234714"/>
          <c:w val="0.87913583666363326"/>
          <c:h val="0.13366466680804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lang="ru-KZ" sz="1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49725645461402E-2"/>
          <c:y val="3.7185883824238229E-2"/>
          <c:w val="0.9587554261467035"/>
          <c:h val="0.6749699726497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ред разм. назн СВут'!$A$4:$B$4</c:f>
              <c:strCache>
                <c:ptCount val="2"/>
                <c:pt idx="0">
                  <c:v>еңбекке қабілеттілігін жоғалту дәрежесі 80% - дан 100% - ға дейін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4:$O$4</c:f>
              <c:numCache>
                <c:formatCode>#,##0</c:formatCode>
                <c:ptCount val="2"/>
                <c:pt idx="0">
                  <c:v>52837.63121</c:v>
                </c:pt>
                <c:pt idx="1">
                  <c:v>67743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1-4668-9266-D29806A9ED17}"/>
            </c:ext>
          </c:extLst>
        </c:ser>
        <c:ser>
          <c:idx val="1"/>
          <c:order val="1"/>
          <c:tx>
            <c:strRef>
              <c:f>'Сред разм. назн СВут'!$A$5:$B$5</c:f>
              <c:strCache>
                <c:ptCount val="2"/>
                <c:pt idx="0">
                  <c:v>еңбек ету қабілетінен айрылу дәрежесі 60% - дан 80% - ға дейін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5:$O$5</c:f>
              <c:numCache>
                <c:formatCode>#,##0</c:formatCode>
                <c:ptCount val="2"/>
                <c:pt idx="0">
                  <c:v>41686.292170000001</c:v>
                </c:pt>
                <c:pt idx="1">
                  <c:v>52126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F1-4668-9266-D29806A9ED17}"/>
            </c:ext>
          </c:extLst>
        </c:ser>
        <c:ser>
          <c:idx val="2"/>
          <c:order val="2"/>
          <c:tx>
            <c:strRef>
              <c:f>'Сред разм. назн СВут'!$A$6:$B$6</c:f>
              <c:strCache>
                <c:ptCount val="2"/>
                <c:pt idx="0">
                  <c:v>еңбек ету қабілетінен айырылу дәрежесі 30% - дан 60% - ға дейін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6:$O$6</c:f>
              <c:numCache>
                <c:formatCode>#,##0</c:formatCode>
                <c:ptCount val="2"/>
                <c:pt idx="0">
                  <c:v>30131.298569999999</c:v>
                </c:pt>
                <c:pt idx="1">
                  <c:v>36464.5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F1-4668-9266-D29806A9ED1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8080128"/>
        <c:axId val="148081664"/>
      </c:barChart>
      <c:catAx>
        <c:axId val="148080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8081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0816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480801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675966928726454E-2"/>
          <c:y val="0.80306757071206725"/>
          <c:w val="0.92618090818373899"/>
          <c:h val="0.17298759049661885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07655293088365E-2"/>
          <c:y val="8.0679405520169847E-2"/>
          <c:w val="0.90137401574803144"/>
          <c:h val="0.70676667500494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пк получатели'!$E$9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9:$H$9</c:f>
              <c:numCache>
                <c:formatCode>#,##0</c:formatCode>
                <c:ptCount val="3"/>
                <c:pt idx="0">
                  <c:v>57699</c:v>
                </c:pt>
                <c:pt idx="1">
                  <c:v>61442</c:v>
                </c:pt>
                <c:pt idx="2">
                  <c:v>64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F-4BE3-BE82-580CD6B51C64}"/>
            </c:ext>
          </c:extLst>
        </c:ser>
        <c:ser>
          <c:idx val="1"/>
          <c:order val="1"/>
          <c:tx>
            <c:strRef>
              <c:f>'СВпк получатели'!$E$10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10:$H$10</c:f>
            </c:numRef>
          </c:val>
          <c:extLst>
            <c:ext xmlns:c16="http://schemas.microsoft.com/office/drawing/2014/chart" uri="{C3380CC4-5D6E-409C-BE32-E72D297353CC}">
              <c16:uniqueId val="{00000001-034F-4BE3-BE82-580CD6B51C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918882399"/>
        <c:axId val="1837228223"/>
      </c:barChart>
      <c:lineChart>
        <c:grouping val="standard"/>
        <c:varyColors val="0"/>
        <c:ser>
          <c:idx val="2"/>
          <c:order val="2"/>
          <c:tx>
            <c:strRef>
              <c:f>'СВпк получатели'!$E$11</c:f>
              <c:strCache>
                <c:ptCount val="1"/>
                <c:pt idx="0">
                  <c:v>төлемдер сомасы (млрд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Pt>
            <c:idx val="0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4F-4BE3-BE82-580CD6B51C64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4F-4BE3-BE82-580CD6B51C64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4F-4BE3-BE82-580CD6B51C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11:$H$11</c:f>
              <c:numCache>
                <c:formatCode>General</c:formatCode>
                <c:ptCount val="3"/>
                <c:pt idx="0">
                  <c:v>17.7</c:v>
                </c:pt>
                <c:pt idx="1">
                  <c:v>21.3</c:v>
                </c:pt>
                <c:pt idx="2">
                  <c:v>26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34F-4BE3-BE82-580CD6B51C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24018351"/>
        <c:axId val="1927264031"/>
      </c:lineChart>
      <c:catAx>
        <c:axId val="191888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37228223"/>
        <c:crosses val="autoZero"/>
        <c:auto val="1"/>
        <c:lblAlgn val="ctr"/>
        <c:lblOffset val="100"/>
        <c:noMultiLvlLbl val="0"/>
      </c:catAx>
      <c:valAx>
        <c:axId val="1837228223"/>
        <c:scaling>
          <c:orientation val="minMax"/>
          <c:max val="65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18882399"/>
        <c:crosses val="autoZero"/>
        <c:crossBetween val="between"/>
      </c:valAx>
      <c:valAx>
        <c:axId val="1927264031"/>
        <c:scaling>
          <c:orientation val="minMax"/>
          <c:max val="27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24018351"/>
        <c:crosses val="max"/>
        <c:crossBetween val="between"/>
      </c:valAx>
      <c:catAx>
        <c:axId val="19240183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0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9775982601282E-2"/>
          <c:y val="6.0892128526414846E-2"/>
          <c:w val="0.93780448034797437"/>
          <c:h val="0.585950306709773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охват!$B$1</c:f>
              <c:strCache>
                <c:ptCount val="1"/>
                <c:pt idx="0">
                  <c:v>жұмыспен қамтылған халық саны (мың адам)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rgbClr val="00206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B$2:$B$13</c:f>
              <c:numCache>
                <c:formatCode>#\ ##0.0</c:formatCode>
                <c:ptCount val="3"/>
                <c:pt idx="0">
                  <c:v>8807.1</c:v>
                </c:pt>
                <c:pt idx="1">
                  <c:v>8966.9</c:v>
                </c:pt>
                <c:pt idx="2">
                  <c:v>908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26-4B97-9329-898B55D4FC99}"/>
            </c:ext>
          </c:extLst>
        </c:ser>
        <c:ser>
          <c:idx val="1"/>
          <c:order val="1"/>
          <c:tx>
            <c:strRef>
              <c:f>охват!$C$1</c:f>
              <c:strCache>
                <c:ptCount val="1"/>
                <c:pt idx="0">
                  <c:v>участники МӘСЖ қатысушылары (мың адам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F26-4B97-9329-898B55D4FC9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F26-4B97-9329-898B55D4FC9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C$2:$C$13</c:f>
              <c:numCache>
                <c:formatCode>#\ ##0.0</c:formatCode>
                <c:ptCount val="3"/>
                <c:pt idx="0">
                  <c:v>6583.9</c:v>
                </c:pt>
                <c:pt idx="1">
                  <c:v>6753.3</c:v>
                </c:pt>
                <c:pt idx="2">
                  <c:v>6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26-4B97-9329-898B55D4FC9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558911135"/>
        <c:axId val="1516886111"/>
      </c:barChart>
      <c:lineChart>
        <c:grouping val="standard"/>
        <c:varyColors val="0"/>
        <c:ser>
          <c:idx val="2"/>
          <c:order val="2"/>
          <c:tx>
            <c:strRef>
              <c:f>охват!$D$1</c:f>
              <c:strCache>
                <c:ptCount val="1"/>
                <c:pt idx="0">
                  <c:v>Жұмыспен қамтылған халықтың МӘСЖ қамту үлесі 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D$2:$D$13</c:f>
              <c:numCache>
                <c:formatCode>0.0%</c:formatCode>
                <c:ptCount val="3"/>
                <c:pt idx="0">
                  <c:v>0.748</c:v>
                </c:pt>
                <c:pt idx="1">
                  <c:v>0.753</c:v>
                </c:pt>
                <c:pt idx="2">
                  <c:v>0.76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26-4B97-9329-898B55D4FC9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58951535"/>
        <c:axId val="1562703119"/>
      </c:lineChart>
      <c:catAx>
        <c:axId val="1558911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516886111"/>
        <c:crosses val="autoZero"/>
        <c:auto val="1"/>
        <c:lblAlgn val="ctr"/>
        <c:lblOffset val="100"/>
        <c:noMultiLvlLbl val="0"/>
      </c:catAx>
      <c:valAx>
        <c:axId val="1516886111"/>
        <c:scaling>
          <c:orientation val="minMax"/>
          <c:max val="92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58911135"/>
        <c:crosses val="autoZero"/>
        <c:crossBetween val="between"/>
      </c:valAx>
      <c:valAx>
        <c:axId val="1562703119"/>
        <c:scaling>
          <c:orientation val="minMax"/>
          <c:max val="1"/>
          <c:min val="0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58951535"/>
        <c:crosses val="max"/>
        <c:crossBetween val="between"/>
      </c:valAx>
      <c:catAx>
        <c:axId val="15589515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27031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50431477660596E-3"/>
          <c:y val="0.78203179965106651"/>
          <c:w val="0.99664956852233944"/>
          <c:h val="0.12489326907168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 algn="just"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530985894689368E-2"/>
          <c:y val="4.6788158626122366E-2"/>
          <c:w val="0.87033108946241799"/>
          <c:h val="0.7159553680735771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Доля ПК'!$B$15</c:f>
              <c:strCache>
                <c:ptCount val="1"/>
                <c:pt idx="0">
                  <c:v>1 асырауындағы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1B-444B-A1FD-F0CE26276577}"/>
                </c:ext>
              </c:extLst>
            </c:dLbl>
            <c:dLbl>
              <c:idx val="1"/>
              <c:layout>
                <c:manualLayout>
                  <c:x val="9.1954009672692658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1B-444B-A1FD-F0CE26276577}"/>
                </c:ext>
              </c:extLst>
            </c:dLbl>
            <c:dLbl>
              <c:idx val="2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1B-444B-A1FD-F0CE26276577}"/>
                </c:ext>
              </c:extLst>
            </c:dLbl>
            <c:dLbl>
              <c:idx val="3"/>
              <c:layout>
                <c:manualLayout>
                  <c:x val="5.5172405803615111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1B-444B-A1FD-F0CE26276577}"/>
                </c:ext>
              </c:extLst>
            </c:dLbl>
            <c:dLbl>
              <c:idx val="4"/>
              <c:layout>
                <c:manualLayout>
                  <c:x val="5.51724058036157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1B-444B-A1FD-F0CE26276577}"/>
                </c:ext>
              </c:extLst>
            </c:dLbl>
            <c:dLbl>
              <c:idx val="5"/>
              <c:layout>
                <c:manualLayout>
                  <c:x val="1.2873561354177018E-2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1B-444B-A1FD-F0CE26276577}"/>
                </c:ext>
              </c:extLst>
            </c:dLbl>
            <c:dLbl>
              <c:idx val="6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5:$W$15</c:f>
              <c:numCache>
                <c:formatCode>0.0%</c:formatCode>
                <c:ptCount val="3"/>
                <c:pt idx="0">
                  <c:v>0.54408221979583704</c:v>
                </c:pt>
                <c:pt idx="1">
                  <c:v>0.5424628104553888</c:v>
                </c:pt>
                <c:pt idx="2">
                  <c:v>0.53717850974778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F1B-444B-A1FD-F0CE26276577}"/>
            </c:ext>
          </c:extLst>
        </c:ser>
        <c:ser>
          <c:idx val="2"/>
          <c:order val="1"/>
          <c:tx>
            <c:strRef>
              <c:f>'Доля ПК'!$B$16</c:f>
              <c:strCache>
                <c:ptCount val="1"/>
                <c:pt idx="0">
                  <c:v>2 асырауындағы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873561354177018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1B-444B-A1FD-F0CE26276577}"/>
                </c:ext>
              </c:extLst>
            </c:dLbl>
            <c:dLbl>
              <c:idx val="1"/>
              <c:layout>
                <c:manualLayout>
                  <c:x val="1.1034481160723121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1B-444B-A1FD-F0CE26276577}"/>
                </c:ext>
              </c:extLst>
            </c:dLbl>
            <c:dLbl>
              <c:idx val="2"/>
              <c:layout>
                <c:manualLayout>
                  <c:x val="4.927146397627725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1B-444B-A1FD-F0CE26276577}"/>
                </c:ext>
              </c:extLst>
            </c:dLbl>
            <c:dLbl>
              <c:idx val="3"/>
              <c:layout>
                <c:manualLayout>
                  <c:x val="1.1034481160723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F1B-444B-A1FD-F0CE26276577}"/>
                </c:ext>
              </c:extLst>
            </c:dLbl>
            <c:dLbl>
              <c:idx val="5"/>
              <c:layout>
                <c:manualLayout>
                  <c:x val="1.1034481160723159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1B-444B-A1FD-F0CE26276577}"/>
                </c:ext>
              </c:extLst>
            </c:dLbl>
            <c:dLbl>
              <c:idx val="6"/>
              <c:layout>
                <c:manualLayout>
                  <c:x val="1.2873561354177018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6:$W$16</c:f>
              <c:numCache>
                <c:formatCode>0.0%</c:formatCode>
                <c:ptCount val="3"/>
                <c:pt idx="0">
                  <c:v>0.27464947399434997</c:v>
                </c:pt>
                <c:pt idx="1">
                  <c:v>0.27251717066501741</c:v>
                </c:pt>
                <c:pt idx="2">
                  <c:v>0.27244013629786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F1B-444B-A1FD-F0CE26276577}"/>
            </c:ext>
          </c:extLst>
        </c:ser>
        <c:ser>
          <c:idx val="3"/>
          <c:order val="2"/>
          <c:tx>
            <c:strRef>
              <c:f>'Доля ПК'!$B$17</c:f>
              <c:strCache>
                <c:ptCount val="1"/>
                <c:pt idx="0">
                  <c:v>3 асырауындағы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539458150033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F1B-444B-A1FD-F0CE26276577}"/>
                </c:ext>
              </c:extLst>
            </c:dLbl>
            <c:dLbl>
              <c:idx val="1"/>
              <c:layout>
                <c:manualLayout>
                  <c:x val="7.653945815003396E-3"/>
                  <c:y val="-3.329171432144015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1B-444B-A1FD-F0CE26276577}"/>
                </c:ext>
              </c:extLst>
            </c:dLbl>
            <c:dLbl>
              <c:idx val="2"/>
              <c:layout>
                <c:manualLayout>
                  <c:x val="3.46149394782317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F1B-444B-A1FD-F0CE26276577}"/>
                </c:ext>
              </c:extLst>
            </c:dLbl>
            <c:dLbl>
              <c:idx val="5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7:$W$17</c:f>
              <c:numCache>
                <c:formatCode>0.0%</c:formatCode>
                <c:ptCount val="3"/>
                <c:pt idx="0">
                  <c:v>0.11170037608970693</c:v>
                </c:pt>
                <c:pt idx="1">
                  <c:v>0.112219654308128</c:v>
                </c:pt>
                <c:pt idx="2">
                  <c:v>0.11376826251341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F1B-444B-A1FD-F0CE26276577}"/>
            </c:ext>
          </c:extLst>
        </c:ser>
        <c:ser>
          <c:idx val="4"/>
          <c:order val="3"/>
          <c:tx>
            <c:strRef>
              <c:f>'Доля ПК'!$B$18</c:f>
              <c:strCache>
                <c:ptCount val="1"/>
                <c:pt idx="0">
                  <c:v>4 және одан да көп асырауындағы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3563207738154383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F1B-444B-A1FD-F0CE26276577}"/>
                </c:ext>
              </c:extLst>
            </c:dLbl>
            <c:dLbl>
              <c:idx val="1"/>
              <c:layout>
                <c:manualLayout>
                  <c:x val="7.3561759643513873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F1B-444B-A1FD-F0CE26276577}"/>
                </c:ext>
              </c:extLst>
            </c:dLbl>
            <c:dLbl>
              <c:idx val="2"/>
              <c:layout>
                <c:manualLayout>
                  <c:x val="6.6611858515150469E-3"/>
                  <c:y val="-1.1150820309436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F1B-444B-A1FD-F0CE26276577}"/>
                </c:ext>
              </c:extLst>
            </c:dLbl>
            <c:dLbl>
              <c:idx val="4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F1B-444B-A1FD-F0CE26276577}"/>
                </c:ext>
              </c:extLst>
            </c:dLbl>
            <c:dLbl>
              <c:idx val="5"/>
              <c:layout>
                <c:manualLayout>
                  <c:x val="9.1954009672693005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8:$W$18</c:f>
              <c:numCache>
                <c:formatCode>0.0%</c:formatCode>
                <c:ptCount val="3"/>
                <c:pt idx="0">
                  <c:v>6.9567930120106064E-2</c:v>
                </c:pt>
                <c:pt idx="1">
                  <c:v>7.280036457146577E-2</c:v>
                </c:pt>
                <c:pt idx="2">
                  <c:v>7.66130914409298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F1B-444B-A1FD-F0CE262765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565056"/>
        <c:axId val="109566592"/>
      </c:barChart>
      <c:catAx>
        <c:axId val="10956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566592"/>
        <c:crosses val="autoZero"/>
        <c:auto val="1"/>
        <c:lblAlgn val="ctr"/>
        <c:lblOffset val="100"/>
        <c:noMultiLvlLbl val="0"/>
      </c:catAx>
      <c:valAx>
        <c:axId val="109566592"/>
        <c:scaling>
          <c:orientation val="minMax"/>
          <c:max val="1"/>
        </c:scaling>
        <c:delete val="1"/>
        <c:axPos val="l"/>
        <c:numFmt formatCode="0%" sourceLinked="0"/>
        <c:majorTickMark val="out"/>
        <c:minorTickMark val="none"/>
        <c:tickLblPos val="nextTo"/>
        <c:crossAx val="10956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"/>
          <c:y val="0.86549107736587061"/>
          <c:w val="0.9"/>
          <c:h val="8.68692517809461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01131831005655E-2"/>
          <c:y val="8.3649518944026405E-2"/>
          <c:w val="0.92157282033005394"/>
          <c:h val="0.577369076017975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 ПК средние   (2)'!$A$4</c:f>
              <c:strCache>
                <c:ptCount val="1"/>
                <c:pt idx="0">
                  <c:v>асырауындағы 1 адаммен</c:v>
                </c:pt>
              </c:strCache>
            </c:strRef>
          </c:tx>
          <c:spPr>
            <a:solidFill>
              <a:srgbClr val="7F6000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4:$N$4</c:f>
              <c:numCache>
                <c:formatCode>#,##0</c:formatCode>
                <c:ptCount val="2"/>
                <c:pt idx="0">
                  <c:v>30949</c:v>
                </c:pt>
                <c:pt idx="1">
                  <c:v>39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9-46D0-803D-A37EBA24320E}"/>
            </c:ext>
          </c:extLst>
        </c:ser>
        <c:ser>
          <c:idx val="1"/>
          <c:order val="1"/>
          <c:tx>
            <c:strRef>
              <c:f>'СВ ПК средние   (2)'!$A$5</c:f>
              <c:strCache>
                <c:ptCount val="1"/>
                <c:pt idx="0">
                  <c:v>асырауындағы 2 адамме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 blurRad="12700"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5:$N$5</c:f>
              <c:numCache>
                <c:formatCode>#,##0</c:formatCode>
                <c:ptCount val="2"/>
                <c:pt idx="0">
                  <c:v>42786</c:v>
                </c:pt>
                <c:pt idx="1">
                  <c:v>536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09-46D0-803D-A37EBA24320E}"/>
            </c:ext>
          </c:extLst>
        </c:ser>
        <c:ser>
          <c:idx val="2"/>
          <c:order val="2"/>
          <c:tx>
            <c:strRef>
              <c:f>'СВ ПК средние   (2)'!$A$6</c:f>
              <c:strCache>
                <c:ptCount val="1"/>
                <c:pt idx="0">
                  <c:v>асырауындағы 3 адамме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6:$N$6</c:f>
              <c:numCache>
                <c:formatCode>#,##0</c:formatCode>
                <c:ptCount val="2"/>
                <c:pt idx="0">
                  <c:v>53518</c:v>
                </c:pt>
                <c:pt idx="1">
                  <c:v>68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09-46D0-803D-A37EBA24320E}"/>
            </c:ext>
          </c:extLst>
        </c:ser>
        <c:ser>
          <c:idx val="3"/>
          <c:order val="3"/>
          <c:tx>
            <c:strRef>
              <c:f>'СВ ПК средние   (2)'!$A$7</c:f>
              <c:strCache>
                <c:ptCount val="1"/>
                <c:pt idx="0">
                  <c:v>асырауындағы 4 адамме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7:$N$7</c:f>
              <c:numCache>
                <c:formatCode>#,##0</c:formatCode>
                <c:ptCount val="2"/>
                <c:pt idx="0">
                  <c:v>65601</c:v>
                </c:pt>
                <c:pt idx="1">
                  <c:v>807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09-46D0-803D-A37EBA243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axId val="108259200"/>
        <c:axId val="108260736"/>
      </c:barChart>
      <c:catAx>
        <c:axId val="108259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082607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8260736"/>
        <c:scaling>
          <c:orientation val="minMax"/>
          <c:max val="80000"/>
        </c:scaling>
        <c:delete val="1"/>
        <c:axPos val="l"/>
        <c:numFmt formatCode="#,##0" sourceLinked="1"/>
        <c:majorTickMark val="out"/>
        <c:minorTickMark val="none"/>
        <c:tickLblPos val="nextTo"/>
        <c:crossAx val="1082592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6.3313996170953957E-2"/>
          <c:y val="0.80169714358951039"/>
          <c:w val="0.86949922155889869"/>
          <c:h val="0.1450869656891725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  <a:alpha val="0"/>
      </a:schemeClr>
    </a:solidFill>
    <a:ln w="38100" cap="flat" cmpd="sng" algn="ctr">
      <a:noFill/>
      <a:prstDash val="solid"/>
      <a:miter lim="800000"/>
    </a:ln>
    <a:effectLst/>
  </c:spPr>
  <c:txPr>
    <a:bodyPr/>
    <a:lstStyle/>
    <a:p>
      <a:pPr>
        <a:defRPr sz="1100" b="0" i="0" u="none" strike="noStrike" baseline="0">
          <a:solidFill>
            <a:srgbClr val="002060"/>
          </a:solidFill>
          <a:latin typeface="Arial" panose="020B0604020202020204" pitchFamily="34" charset="0"/>
          <a:ea typeface="Arial Cyr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989983036378358E-2"/>
          <c:y val="9.5328926743759909E-2"/>
          <c:w val="0.93602003392724331"/>
          <c:h val="0.60737507671792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получатели и суммы'!$F$17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556389584911429E-2"/>
                  <c:y val="0.1698075150574339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71-4A2D-A95B-1A9399FA5025}"/>
                </c:ext>
              </c:extLst>
            </c:dLbl>
            <c:dLbl>
              <c:idx val="1"/>
              <c:layout>
                <c:manualLayout>
                  <c:x val="-1.2445111667929143E-2"/>
                  <c:y val="0.138008818715898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71-4A2D-A95B-1A9399FA5025}"/>
                </c:ext>
              </c:extLst>
            </c:dLbl>
            <c:dLbl>
              <c:idx val="2"/>
              <c:layout>
                <c:manualLayout>
                  <c:x val="-1.5556389584911543E-2"/>
                  <c:y val="0.2597019066366751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7:$I$17</c:f>
              <c:numCache>
                <c:formatCode>#,##0</c:formatCode>
                <c:ptCount val="3"/>
                <c:pt idx="0">
                  <c:v>105654</c:v>
                </c:pt>
                <c:pt idx="1">
                  <c:v>110619</c:v>
                </c:pt>
                <c:pt idx="2">
                  <c:v>224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F-489A-B9B0-5018BAB9757D}"/>
            </c:ext>
          </c:extLst>
        </c:ser>
        <c:ser>
          <c:idx val="1"/>
          <c:order val="1"/>
          <c:tx>
            <c:strRef>
              <c:f>'получатели и суммы'!$F$18</c:f>
              <c:strCache>
                <c:ptCount val="1"/>
                <c:pt idx="0">
                  <c:v>жаңа тағайындаулар саны (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112779169822856E-3"/>
                  <c:y val="0.169032622099896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671-4A2D-A95B-1A9399FA5025}"/>
                </c:ext>
              </c:extLst>
            </c:dLbl>
            <c:dLbl>
              <c:idx val="1"/>
              <c:layout>
                <c:manualLayout>
                  <c:x val="-9.3338337509469137E-3"/>
                  <c:y val="0.202014296158045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71-4A2D-A95B-1A9399FA5025}"/>
                </c:ext>
              </c:extLst>
            </c:dLbl>
            <c:dLbl>
              <c:idx val="2"/>
              <c:layout>
                <c:manualLayout>
                  <c:x val="-1.244511166792903E-2"/>
                  <c:y val="0.3053669741557666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8:$I$18</c:f>
              <c:numCache>
                <c:formatCode>#,##0</c:formatCode>
                <c:ptCount val="3"/>
                <c:pt idx="0">
                  <c:v>78323</c:v>
                </c:pt>
                <c:pt idx="1">
                  <c:v>109923</c:v>
                </c:pt>
                <c:pt idx="2">
                  <c:v>203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F-489A-B9B0-5018BAB975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45"/>
        <c:axId val="1978877839"/>
        <c:axId val="1923827247"/>
      </c:barChart>
      <c:lineChart>
        <c:grouping val="standard"/>
        <c:varyColors val="0"/>
        <c:ser>
          <c:idx val="2"/>
          <c:order val="2"/>
          <c:tx>
            <c:strRef>
              <c:f>'получатели и суммы'!$F$19</c:f>
              <c:strCache>
                <c:ptCount val="1"/>
                <c:pt idx="0">
                  <c:v>төлемдер сомасы (млрд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2777777777777805E-2"/>
                  <c:y val="-0.10185185185185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2F-489A-B9B0-5018BAB9757D}"/>
                </c:ext>
              </c:extLst>
            </c:dLbl>
            <c:dLbl>
              <c:idx val="1"/>
              <c:layout>
                <c:manualLayout>
                  <c:x val="-5.2125811084609376E-2"/>
                  <c:y val="-7.40739759536204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2F-489A-B9B0-5018BAB9757D}"/>
                </c:ext>
              </c:extLst>
            </c:dLbl>
            <c:dLbl>
              <c:idx val="2"/>
              <c:layout>
                <c:manualLayout>
                  <c:x val="-4.6530884416550337E-2"/>
                  <c:y val="-3.3645503556621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2F-489A-B9B0-5018BAB975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9:$I$19</c:f>
              <c:numCache>
                <c:formatCode>General</c:formatCode>
                <c:ptCount val="3"/>
                <c:pt idx="0">
                  <c:v>16.2</c:v>
                </c:pt>
                <c:pt idx="1">
                  <c:v>19.100000000000001</c:v>
                </c:pt>
                <c:pt idx="2">
                  <c:v>49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2F-489A-B9B0-5018BAB975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73699839"/>
        <c:axId val="1827390303"/>
      </c:lineChart>
      <c:catAx>
        <c:axId val="1978877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27247"/>
        <c:crosses val="autoZero"/>
        <c:auto val="1"/>
        <c:lblAlgn val="ctr"/>
        <c:lblOffset val="100"/>
        <c:noMultiLvlLbl val="0"/>
      </c:catAx>
      <c:valAx>
        <c:axId val="192382724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78877839"/>
        <c:crosses val="autoZero"/>
        <c:crossBetween val="between"/>
      </c:valAx>
      <c:valAx>
        <c:axId val="1827390303"/>
        <c:scaling>
          <c:orientation val="minMax"/>
          <c:max val="5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73699839"/>
        <c:crosses val="max"/>
        <c:crossBetween val="between"/>
      </c:valAx>
      <c:catAx>
        <c:axId val="19736998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2739030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112779169822856E-3"/>
          <c:y val="0.83237971712364489"/>
          <c:w val="0.98595466255618669"/>
          <c:h val="0.14600338221203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78675132990583"/>
          <c:y val="0.1722209254558201"/>
          <c:w val="0.3858222149532945"/>
          <c:h val="0.6818819695314991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46-438F-9C5B-8EC2EF128BAC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46-438F-9C5B-8EC2EF128BA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46-438F-9C5B-8EC2EF128BA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D46-438F-9C5B-8EC2EF128BAC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D46-438F-9C5B-8EC2EF128BAC}"/>
              </c:ext>
            </c:extLst>
          </c:dPt>
          <c:dPt>
            <c:idx val="5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D46-438F-9C5B-8EC2EF128BAC}"/>
              </c:ext>
            </c:extLst>
          </c:dPt>
          <c:dLbls>
            <c:dLbl>
              <c:idx val="0"/>
              <c:layout>
                <c:manualLayout>
                  <c:x val="0.14476688246890865"/>
                  <c:y val="-0.157188424021379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E0A89B5-4218-4D9E-8AB3-F6A514D9BFB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C6F65B0B-73B2-451E-A0EF-674376E086A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4634"/>
                        <a:gd name="adj2" fmla="val 5095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327541278115225"/>
                      <c:h val="0.187375544999023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46-438F-9C5B-8EC2EF128BAC}"/>
                </c:ext>
              </c:extLst>
            </c:dLbl>
            <c:dLbl>
              <c:idx val="1"/>
              <c:layout>
                <c:manualLayout>
                  <c:x val="0.21990773348374049"/>
                  <c:y val="-4.5630867831387936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A40805-5719-4038-AF47-19E1424344CC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0DD81572-9430-46B2-9466-82C07493A26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469"/>
                        <a:gd name="adj2" fmla="val 1996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1754629436374491"/>
                      <c:h val="0.167218363502301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46-438F-9C5B-8EC2EF128BAC}"/>
                </c:ext>
              </c:extLst>
            </c:dLbl>
            <c:dLbl>
              <c:idx val="2"/>
              <c:layout>
                <c:manualLayout>
                  <c:x val="0.22563027034015784"/>
                  <c:y val="-1.4110059587415125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93FB33-E32D-438B-B8BA-63C75709333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4B81E2AF-2D11-40A4-92EC-7A0DF0A1CAA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652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268476857779392"/>
                      <c:h val="0.171249761643584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D46-438F-9C5B-8EC2EF128BAC}"/>
                </c:ext>
              </c:extLst>
            </c:dLbl>
            <c:dLbl>
              <c:idx val="3"/>
              <c:layout>
                <c:manualLayout>
                  <c:x val="0.22743799792507716"/>
                  <c:y val="1.921679408205251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E58EAF2-7F75-4473-9898-7BBD26FD1A22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D143B29-4E58-455D-B2D2-DB9CA30AA05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859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630022374763256"/>
                      <c:h val="0.17528115978486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D46-438F-9C5B-8EC2EF128BAC}"/>
                </c:ext>
              </c:extLst>
            </c:dLbl>
            <c:dLbl>
              <c:idx val="4"/>
              <c:layout>
                <c:manualLayout>
                  <c:x val="0.2214148679905418"/>
                  <c:y val="0.1483578885459068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3AB481-FFAF-44D2-8BF7-721D4F31ACD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F9E1514-A663-4D04-A13A-5AA96EDD272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2904"/>
                        <a:gd name="adj2" fmla="val -5508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90703033811691"/>
                      <c:h val="0.171249899149374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D46-438F-9C5B-8EC2EF128BAC}"/>
                </c:ext>
              </c:extLst>
            </c:dLbl>
            <c:dLbl>
              <c:idx val="5"/>
              <c:layout>
                <c:manualLayout>
                  <c:x val="-0.17282269191705912"/>
                  <c:y val="-0.10634440926969925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BF02630-383A-495A-953E-7F347C46060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3D85B3B-E2A1-4E94-B72A-AE63C8B9128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22604"/>
                        <a:gd name="adj2" fmla="val 5095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0555605952176967"/>
                      <c:h val="0.3159723765777911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D46-438F-9C5B-8EC2EF128BAC}"/>
                </c:ext>
              </c:extLst>
            </c:dLbl>
            <c:spPr>
              <a:solidFill>
                <a:sysClr val="window" lastClr="FFFFFF">
                  <a:alpha val="0"/>
                </a:sys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структ СВпр'!$A$2:$F$2</c:f>
              <c:strCache>
                <c:ptCount val="6"/>
                <c:pt idx="0">
                  <c:v>6 айдан 12 айға дейін 
(1 ай төлеу құқығымен)</c:v>
                </c:pt>
                <c:pt idx="1">
                  <c:v>12 айдан 24 айға дейін 
(2 ай төлеу құқығымен)</c:v>
                </c:pt>
                <c:pt idx="2">
                  <c:v>24 айдан 36 айға дейін 
(3 ай төлеу құқығымен)</c:v>
                </c:pt>
                <c:pt idx="3">
                  <c:v>36 айдан 48 айға дейін 
(4 ай төлеу құқығымен)</c:v>
                </c:pt>
                <c:pt idx="4">
                  <c:v>48 айдан 60 айға дейін 
(5 ай төлеу құқығымен)</c:v>
                </c:pt>
                <c:pt idx="5">
                  <c:v>60 айдан астам
(6 ай төлеу құқығымен)</c:v>
                </c:pt>
              </c:strCache>
            </c:strRef>
          </c:cat>
          <c:val>
            <c:numRef>
              <c:f>'структ СВпр'!$A$3:$F$3</c:f>
              <c:numCache>
                <c:formatCode>#,##0</c:formatCode>
                <c:ptCount val="6"/>
                <c:pt idx="0">
                  <c:v>14765</c:v>
                </c:pt>
                <c:pt idx="1">
                  <c:v>25570</c:v>
                </c:pt>
                <c:pt idx="2">
                  <c:v>20599</c:v>
                </c:pt>
                <c:pt idx="3">
                  <c:v>17855</c:v>
                </c:pt>
                <c:pt idx="4">
                  <c:v>16360</c:v>
                </c:pt>
                <c:pt idx="5">
                  <c:v>108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D46-438F-9C5B-8EC2EF128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86460459094723E-2"/>
          <c:y val="5.5503406901723493E-2"/>
          <c:w val="0.92007875397551708"/>
          <c:h val="0.689099700899199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аст СВпр'!$A$12</c:f>
              <c:strCache>
                <c:ptCount val="1"/>
                <c:pt idx="0">
                  <c:v>20 жастан 34 жасқа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49-435D-828F-178378B7FC96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49-435D-828F-178378B7FC96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49-435D-828F-178378B7FC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2:$Q$12</c:f>
              <c:numCache>
                <c:formatCode>#,##0</c:formatCode>
                <c:ptCount val="2"/>
                <c:pt idx="0">
                  <c:v>48031</c:v>
                </c:pt>
                <c:pt idx="1">
                  <c:v>34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49-435D-828F-178378B7FC96}"/>
            </c:ext>
          </c:extLst>
        </c:ser>
        <c:ser>
          <c:idx val="1"/>
          <c:order val="1"/>
          <c:tx>
            <c:strRef>
              <c:f>'пол и возраст СВпр'!$A$13</c:f>
              <c:strCache>
                <c:ptCount val="1"/>
                <c:pt idx="0">
                  <c:v>35 жастан 49 жасқ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3:$Q$13</c:f>
              <c:numCache>
                <c:formatCode>#,##0</c:formatCode>
                <c:ptCount val="2"/>
                <c:pt idx="0">
                  <c:v>51174</c:v>
                </c:pt>
                <c:pt idx="1">
                  <c:v>43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49-435D-828F-178378B7FC96}"/>
            </c:ext>
          </c:extLst>
        </c:ser>
        <c:ser>
          <c:idx val="2"/>
          <c:order val="2"/>
          <c:tx>
            <c:strRef>
              <c:f>'пол и возраст СВпр'!$A$14</c:f>
              <c:strCache>
                <c:ptCount val="1"/>
                <c:pt idx="0">
                  <c:v>50 жастан 64 жасқа дейі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4:$Q$14</c:f>
              <c:numCache>
                <c:formatCode>#,##0</c:formatCode>
                <c:ptCount val="2"/>
                <c:pt idx="0">
                  <c:v>23384</c:v>
                </c:pt>
                <c:pt idx="1">
                  <c:v>22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F49-435D-828F-178378B7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4246016"/>
        <c:axId val="114247552"/>
      </c:barChart>
      <c:catAx>
        <c:axId val="114246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4247552"/>
        <c:crosses val="autoZero"/>
        <c:auto val="1"/>
        <c:lblAlgn val="ctr"/>
        <c:lblOffset val="100"/>
        <c:noMultiLvlLbl val="0"/>
      </c:catAx>
      <c:valAx>
        <c:axId val="114247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424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982678845965505"/>
          <c:y val="0.8211815335127558"/>
          <c:w val="0.62866743411841564"/>
          <c:h val="0.153240796059531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 baseline="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132750555314038E-2"/>
          <c:y val="0"/>
          <c:w val="0.92914280033536711"/>
          <c:h val="0.80685798776105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ср размер'!$B$9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 размер'!$C$8:$E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р размер'!$C$9:$E$9</c:f>
              <c:numCache>
                <c:formatCode>#,##0</c:formatCode>
                <c:ptCount val="3"/>
                <c:pt idx="0">
                  <c:v>38394</c:v>
                </c:pt>
                <c:pt idx="1">
                  <c:v>44896</c:v>
                </c:pt>
                <c:pt idx="2">
                  <c:v>59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E2-4DFE-BDCC-A803C481E28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0603200"/>
        <c:axId val="1393709744"/>
      </c:barChart>
      <c:catAx>
        <c:axId val="139060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93709744"/>
        <c:crosses val="autoZero"/>
        <c:auto val="1"/>
        <c:lblAlgn val="ctr"/>
        <c:lblOffset val="100"/>
        <c:noMultiLvlLbl val="0"/>
      </c:catAx>
      <c:valAx>
        <c:axId val="139370974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39060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бр (2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1:$H$11</c:f>
              <c:numCache>
                <c:formatCode>#,##0</c:formatCode>
                <c:ptCount val="3"/>
                <c:pt idx="0">
                  <c:v>225489</c:v>
                </c:pt>
                <c:pt idx="1">
                  <c:v>251105</c:v>
                </c:pt>
                <c:pt idx="2">
                  <c:v>287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DA-4909-8CC0-2BE948A617E8}"/>
            </c:ext>
          </c:extLst>
        </c:ser>
        <c:ser>
          <c:idx val="1"/>
          <c:order val="1"/>
          <c:tx>
            <c:strRef>
              <c:f>'свбр (2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2:$H$12</c:f>
            </c:numRef>
          </c:val>
          <c:extLst>
            <c:ext xmlns:c16="http://schemas.microsoft.com/office/drawing/2014/chart" uri="{C3380CC4-5D6E-409C-BE32-E72D297353CC}">
              <c16:uniqueId val="{00000001-28DA-4909-8CC0-2BE948A617E8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2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3229177602799649"/>
                  <c:y val="-4.07427041916790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DA-4909-8CC0-2BE948A617E8}"/>
                </c:ext>
              </c:extLst>
            </c:dLbl>
            <c:dLbl>
              <c:idx val="1"/>
              <c:layout>
                <c:manualLayout>
                  <c:x val="-0.12873915439995826"/>
                  <c:y val="-3.41420826057785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DA-4909-8CC0-2BE948A617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3:$H$13</c:f>
              <c:numCache>
                <c:formatCode>0.0</c:formatCode>
                <c:ptCount val="3"/>
                <c:pt idx="0" formatCode="General">
                  <c:v>123.6</c:v>
                </c:pt>
                <c:pt idx="1">
                  <c:v>197.9</c:v>
                </c:pt>
                <c:pt idx="2" formatCode="General">
                  <c:v>34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8DA-4909-8CC0-2BE948A617E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2432281547179E-2"/>
          <c:y val="0"/>
          <c:w val="0.92300979351799772"/>
          <c:h val="0.761702176187323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бр (3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1:$H$11</c:f>
            </c:numRef>
          </c:val>
          <c:extLst>
            <c:ext xmlns:c16="http://schemas.microsoft.com/office/drawing/2014/chart" uri="{C3380CC4-5D6E-409C-BE32-E72D297353CC}">
              <c16:uniqueId val="{00000000-E7AE-40BA-BE93-81A25062E2D9}"/>
            </c:ext>
          </c:extLst>
        </c:ser>
        <c:ser>
          <c:idx val="1"/>
          <c:order val="1"/>
          <c:tx>
            <c:strRef>
              <c:f>'свбр (3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2:$H$12</c:f>
              <c:numCache>
                <c:formatCode>#,##0</c:formatCode>
                <c:ptCount val="3"/>
                <c:pt idx="0">
                  <c:v>205659</c:v>
                </c:pt>
                <c:pt idx="1">
                  <c:v>241569</c:v>
                </c:pt>
                <c:pt idx="2">
                  <c:v>272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0BA-BE93-81A25062E2D9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3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chemeClr val="accent5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tint val="65000"/>
                </a:schemeClr>
              </a:solidFill>
              <a:ln w="9525">
                <a:solidFill>
                  <a:schemeClr val="accent5">
                    <a:tint val="6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"/>
                  <c:y val="-7.4074074074074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AE-40BA-BE93-81A25062E2D9}"/>
                </c:ext>
              </c:extLst>
            </c:dLbl>
            <c:dLbl>
              <c:idx val="1"/>
              <c:layout>
                <c:manualLayout>
                  <c:x val="-3.055555555555565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AE-40BA-BE93-81A25062E2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3:$H$13</c:f>
            </c:numRef>
          </c:val>
          <c:smooth val="0"/>
          <c:extLst>
            <c:ext xmlns:c16="http://schemas.microsoft.com/office/drawing/2014/chart" uri="{C3380CC4-5D6E-409C-BE32-E72D297353CC}">
              <c16:uniqueId val="{00000004-E7AE-40BA-BE93-81A25062E2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91104641359979E-2"/>
          <c:y val="2.2892878752464291E-2"/>
          <c:w val="0.91259892447252011"/>
          <c:h val="0.76144358527717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р.размер!$D$11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р.размер!$E$10:$G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ср.размер!$E$11:$G$11</c:f>
              <c:numCache>
                <c:formatCode>#,##0</c:formatCode>
                <c:ptCount val="3"/>
                <c:pt idx="0">
                  <c:v>558108</c:v>
                </c:pt>
                <c:pt idx="1">
                  <c:v>810523</c:v>
                </c:pt>
                <c:pt idx="2">
                  <c:v>1244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4-473D-B34D-115E61F9F90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522725280"/>
        <c:axId val="1667284800"/>
      </c:barChart>
      <c:catAx>
        <c:axId val="15227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67284800"/>
        <c:crosses val="autoZero"/>
        <c:auto val="1"/>
        <c:lblAlgn val="ctr"/>
        <c:lblOffset val="100"/>
        <c:noMultiLvlLbl val="0"/>
      </c:catAx>
      <c:valAx>
        <c:axId val="16672848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22725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жұмыс беруші 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Лист1!$B$2:$B$5</c:f>
              <c:numCache>
                <c:formatCode>0.0%</c:formatCode>
                <c:ptCount val="4"/>
                <c:pt idx="0">
                  <c:v>0.62</c:v>
                </c:pt>
                <c:pt idx="1">
                  <c:v>0.312</c:v>
                </c:pt>
                <c:pt idx="2">
                  <c:v>5.8000000000000003E-2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F1-45EF-8FA6-02228F6C313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жұмыс беруші 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Лист1!$C$2:$C$5</c:f>
              <c:numCache>
                <c:formatCode>0.0%</c:formatCode>
                <c:ptCount val="4"/>
                <c:pt idx="0">
                  <c:v>0.69</c:v>
                </c:pt>
                <c:pt idx="1">
                  <c:v>0.254</c:v>
                </c:pt>
                <c:pt idx="2">
                  <c:v>4.8000000000000001E-2</c:v>
                </c:pt>
                <c:pt idx="3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F1-45EF-8FA6-02228F6C31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216070287"/>
        <c:axId val="1181676639"/>
      </c:barChart>
      <c:catAx>
        <c:axId val="12160702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81676639"/>
        <c:crosses val="autoZero"/>
        <c:auto val="1"/>
        <c:lblAlgn val="ctr"/>
        <c:lblOffset val="100"/>
        <c:noMultiLvlLbl val="0"/>
      </c:catAx>
      <c:valAx>
        <c:axId val="1181676639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crossAx val="1216070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50957051443263"/>
          <c:y val="6.5453273203700521E-2"/>
          <c:w val="0.53758837007852012"/>
          <c:h val="0.8905423123523809"/>
        </c:manualLayout>
      </c:layout>
      <c:doughnut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Частота СО, 2023'!$C$2:$N$2</c:f>
              <c:strCache>
                <c:ptCount val="12"/>
                <c:pt idx="0">
                  <c:v>1 мес</c:v>
                </c:pt>
                <c:pt idx="1">
                  <c:v>2 мес</c:v>
                </c:pt>
                <c:pt idx="2">
                  <c:v>3 мес</c:v>
                </c:pt>
                <c:pt idx="3">
                  <c:v>4 мес</c:v>
                </c:pt>
                <c:pt idx="4">
                  <c:v>5 мес</c:v>
                </c:pt>
                <c:pt idx="5">
                  <c:v>6 мес</c:v>
                </c:pt>
                <c:pt idx="6">
                  <c:v>7 мес</c:v>
                </c:pt>
                <c:pt idx="7">
                  <c:v>8 мес</c:v>
                </c:pt>
                <c:pt idx="8">
                  <c:v>9 мес</c:v>
                </c:pt>
                <c:pt idx="9">
                  <c:v>10 мес</c:v>
                </c:pt>
                <c:pt idx="10">
                  <c:v>11 мес</c:v>
                </c:pt>
                <c:pt idx="11">
                  <c:v>12 мес</c:v>
                </c:pt>
              </c:strCache>
            </c:strRef>
          </c:cat>
          <c:val>
            <c:numRef>
              <c:f>'Частота СО, 2023'!$C$3:$N$3</c:f>
            </c:numRef>
          </c:val>
          <c:extLst>
            <c:ext xmlns:c16="http://schemas.microsoft.com/office/drawing/2014/chart" uri="{C3380CC4-5D6E-409C-BE32-E72D297353CC}">
              <c16:uniqueId val="{00000000-7636-4DA9-97E9-ECC9275FDF0E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rgbClr val="CC0000">
                  <a:alpha val="63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636-4DA9-97E9-ECC9275FDF0E}"/>
              </c:ext>
            </c:extLst>
          </c:dPt>
          <c:dPt>
            <c:idx val="1"/>
            <c:bubble3D val="0"/>
            <c:spPr>
              <a:solidFill>
                <a:srgbClr val="7F6000">
                  <a:alpha val="83137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636-4DA9-97E9-ECC9275FDF0E}"/>
              </c:ext>
            </c:extLst>
          </c:dPt>
          <c:dPt>
            <c:idx val="2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636-4DA9-97E9-ECC9275FDF0E}"/>
              </c:ext>
            </c:extLst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7636-4DA9-97E9-ECC9275FDF0E}"/>
              </c:ext>
            </c:extLst>
          </c:dPt>
          <c:dPt>
            <c:idx val="4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636-4DA9-97E9-ECC9275FDF0E}"/>
              </c:ext>
            </c:extLst>
          </c:dPt>
          <c:dPt>
            <c:idx val="5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7636-4DA9-97E9-ECC9275FDF0E}"/>
              </c:ext>
            </c:extLst>
          </c:dPt>
          <c:dPt>
            <c:idx val="6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7636-4DA9-97E9-ECC9275FDF0E}"/>
              </c:ext>
            </c:extLst>
          </c:dPt>
          <c:dPt>
            <c:idx val="7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7636-4DA9-97E9-ECC9275FDF0E}"/>
              </c:ext>
            </c:extLst>
          </c:dPt>
          <c:dPt>
            <c:idx val="8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7636-4DA9-97E9-ECC9275FDF0E}"/>
              </c:ext>
            </c:extLst>
          </c:dPt>
          <c:dPt>
            <c:idx val="9"/>
            <c:bubble3D val="0"/>
            <c:spPr>
              <a:solidFill>
                <a:schemeClr val="accent1">
                  <a:shade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7636-4DA9-97E9-ECC9275FDF0E}"/>
              </c:ext>
            </c:extLst>
          </c:dPt>
          <c:dPt>
            <c:idx val="10"/>
            <c:bubble3D val="0"/>
            <c:spPr>
              <a:solidFill>
                <a:srgbClr val="CC0000">
                  <a:alpha val="34902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7636-4DA9-97E9-ECC9275FDF0E}"/>
              </c:ext>
            </c:extLst>
          </c:dPt>
          <c:dPt>
            <c:idx val="11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7636-4DA9-97E9-ECC9275FDF0E}"/>
              </c:ext>
            </c:extLst>
          </c:dPt>
          <c:dLbls>
            <c:dLbl>
              <c:idx val="0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636-4DA9-97E9-ECC9275FDF0E}"/>
                </c:ext>
              </c:extLst>
            </c:dLbl>
            <c:dLbl>
              <c:idx val="1"/>
              <c:spPr>
                <a:noFill/>
                <a:ln w="6350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636-4DA9-97E9-ECC9275FDF0E}"/>
                </c:ext>
              </c:extLst>
            </c:dLbl>
            <c:dLbl>
              <c:idx val="2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636-4DA9-97E9-ECC9275FDF0E}"/>
                </c:ext>
              </c:extLst>
            </c:dLbl>
            <c:dLbl>
              <c:idx val="3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636-4DA9-97E9-ECC9275FDF0E}"/>
                </c:ext>
              </c:extLst>
            </c:dLbl>
            <c:dLbl>
              <c:idx val="4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636-4DA9-97E9-ECC9275FDF0E}"/>
                </c:ext>
              </c:extLst>
            </c:dLbl>
            <c:dLbl>
              <c:idx val="5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636-4DA9-97E9-ECC9275FDF0E}"/>
                </c:ext>
              </c:extLst>
            </c:dLbl>
            <c:dLbl>
              <c:idx val="6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636-4DA9-97E9-ECC9275FDF0E}"/>
                </c:ext>
              </c:extLst>
            </c:dLbl>
            <c:dLbl>
              <c:idx val="7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636-4DA9-97E9-ECC9275FDF0E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636-4DA9-97E9-ECC9275FDF0E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636-4DA9-97E9-ECC9275FDF0E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636-4DA9-97E9-ECC9275FDF0E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636-4DA9-97E9-ECC9275FDF0E}"/>
                </c:ext>
              </c:extLst>
            </c:dLbl>
            <c:spPr>
              <a:noFill/>
              <a:ln w="6350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DataLabelsRange val="1"/>
              </c:ext>
            </c:extLst>
          </c:dLbls>
          <c:cat>
            <c:strRef>
              <c:f>'Частота СО, 2023'!$C$2:$N$2</c:f>
              <c:strCache>
                <c:ptCount val="12"/>
                <c:pt idx="0">
                  <c:v>1 мес</c:v>
                </c:pt>
                <c:pt idx="1">
                  <c:v>2 мес</c:v>
                </c:pt>
                <c:pt idx="2">
                  <c:v>3 мес</c:v>
                </c:pt>
                <c:pt idx="3">
                  <c:v>4 мес</c:v>
                </c:pt>
                <c:pt idx="4">
                  <c:v>5 мес</c:v>
                </c:pt>
                <c:pt idx="5">
                  <c:v>6 мес</c:v>
                </c:pt>
                <c:pt idx="6">
                  <c:v>7 мес</c:v>
                </c:pt>
                <c:pt idx="7">
                  <c:v>8 мес</c:v>
                </c:pt>
                <c:pt idx="8">
                  <c:v>9 мес</c:v>
                </c:pt>
                <c:pt idx="9">
                  <c:v>10 мес</c:v>
                </c:pt>
                <c:pt idx="10">
                  <c:v>11 мес</c:v>
                </c:pt>
                <c:pt idx="11">
                  <c:v>12 мес</c:v>
                </c:pt>
              </c:strCache>
            </c:strRef>
          </c:cat>
          <c:val>
            <c:numRef>
              <c:f>'Частота СО, 2023'!$C$4:$N$4</c:f>
              <c:numCache>
                <c:formatCode>0.0%</c:formatCode>
                <c:ptCount val="12"/>
                <c:pt idx="0">
                  <c:v>4.2178468613397142E-2</c:v>
                </c:pt>
                <c:pt idx="1">
                  <c:v>3.7107990458056982E-2</c:v>
                </c:pt>
                <c:pt idx="2">
                  <c:v>3.7887084112439053E-2</c:v>
                </c:pt>
                <c:pt idx="3">
                  <c:v>3.665619720362992E-2</c:v>
                </c:pt>
                <c:pt idx="4">
                  <c:v>3.4117411527198722E-2</c:v>
                </c:pt>
                <c:pt idx="5">
                  <c:v>3.8029382340283267E-2</c:v>
                </c:pt>
                <c:pt idx="6">
                  <c:v>3.4410838290006684E-2</c:v>
                </c:pt>
                <c:pt idx="7">
                  <c:v>3.4653454597094076E-2</c:v>
                </c:pt>
                <c:pt idx="8">
                  <c:v>3.7947303911811579E-2</c:v>
                </c:pt>
                <c:pt idx="9">
                  <c:v>5.0431331550962383E-2</c:v>
                </c:pt>
                <c:pt idx="10">
                  <c:v>0.12450009242870649</c:v>
                </c:pt>
                <c:pt idx="11">
                  <c:v>0.49208044496641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7636-4DA9-97E9-ECC9275FDF0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77421940877182E-2"/>
          <c:y val="6.8287769319972116E-2"/>
          <c:w val="0.81128747418490554"/>
          <c:h val="0.53550023031439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лушылар саны (мың 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FE-444C-98A0-2B013DCB9D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17</c:f>
              <c:numCache>
                <c:formatCode>0</c:formatCode>
                <c:ptCount val="3"/>
                <c:pt idx="0">
                  <c:v>662.76099999999997</c:v>
                </c:pt>
                <c:pt idx="1">
                  <c:v>642.6</c:v>
                </c:pt>
                <c:pt idx="2">
                  <c:v>575.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6-4998-8826-42BCCA4C275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аңа тағайындау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17</c:f>
              <c:numCache>
                <c:formatCode>0.0</c:formatCode>
                <c:ptCount val="3"/>
                <c:pt idx="0">
                  <c:v>385.34500000000003</c:v>
                </c:pt>
                <c:pt idx="1">
                  <c:v>323.3</c:v>
                </c:pt>
                <c:pt idx="2">
                  <c:v>3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100"/>
        <c:axId val="748873136"/>
        <c:axId val="995487488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мдер сомасы (млрд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478078453190481E-2"/>
                  <c:y val="-5.5432605676368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A6-43B7-A977-747E15ACEBBD}"/>
                </c:ext>
              </c:extLst>
            </c:dLbl>
            <c:dLbl>
              <c:idx val="1"/>
              <c:layout>
                <c:manualLayout>
                  <c:x val="-7.8534062021652196E-2"/>
                  <c:y val="-6.01273857592460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66-4998-8826-42BCCA4C2758}"/>
                </c:ext>
              </c:extLst>
            </c:dLbl>
            <c:dLbl>
              <c:idx val="2"/>
              <c:layout>
                <c:manualLayout>
                  <c:x val="-9.1177791700241345E-2"/>
                  <c:y val="-5.1866164424831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6-4998-8826-42BCCA4C2758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17</c:f>
              <c:numCache>
                <c:formatCode>0.0</c:formatCode>
                <c:ptCount val="3"/>
                <c:pt idx="0">
                  <c:v>154.45359469100001</c:v>
                </c:pt>
                <c:pt idx="1">
                  <c:v>171.9</c:v>
                </c:pt>
                <c:pt idx="2">
                  <c:v>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502447"/>
        <c:axId val="726488319"/>
      </c:lineChart>
      <c:catAx>
        <c:axId val="74887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1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95487488"/>
        <c:crosses val="autoZero"/>
        <c:auto val="1"/>
        <c:lblAlgn val="ctr"/>
        <c:lblOffset val="100"/>
        <c:noMultiLvlLbl val="0"/>
      </c:catAx>
      <c:valAx>
        <c:axId val="9954874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48873136"/>
        <c:crosses val="autoZero"/>
        <c:crossBetween val="between"/>
      </c:valAx>
      <c:valAx>
        <c:axId val="726488319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4502447"/>
        <c:crosses val="max"/>
        <c:crossBetween val="between"/>
      </c:valAx>
      <c:catAx>
        <c:axId val="5945024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264883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149131413670904E-3"/>
          <c:y val="0.74940225797721227"/>
          <c:w val="0.98116991394536113"/>
          <c:h val="0.216453857362801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441695851853221"/>
          <c:y val="5.2641817449437418E-2"/>
          <c:w val="0.78900380716523277"/>
          <c:h val="0.80030504772605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ур работод '!$C$3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088B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СВур работод '!$B$37:$B$40</c:f>
              <c:strCache>
                <c:ptCount val="4"/>
                <c:pt idx="0">
                  <c:v>1 жұмыс беруші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'СВур работод '!$C$37:$C$40</c:f>
              <c:numCache>
                <c:formatCode>0.0%</c:formatCode>
                <c:ptCount val="4"/>
                <c:pt idx="0">
                  <c:v>0.48075520933266813</c:v>
                </c:pt>
                <c:pt idx="1">
                  <c:v>0.35757319927856018</c:v>
                </c:pt>
                <c:pt idx="2">
                  <c:v>0.11761451577829797</c:v>
                </c:pt>
                <c:pt idx="3">
                  <c:v>4.40570756104736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B-4402-B1F6-B8E0EAFDC640}"/>
            </c:ext>
          </c:extLst>
        </c:ser>
        <c:ser>
          <c:idx val="1"/>
          <c:order val="1"/>
          <c:tx>
            <c:strRef>
              <c:f>'СВур работод '!$D$36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 i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'!$B$37:$B$40</c:f>
              <c:strCache>
                <c:ptCount val="4"/>
                <c:pt idx="0">
                  <c:v>1 жұмыс беруші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'СВур работод '!$D$37:$D$40</c:f>
              <c:numCache>
                <c:formatCode>0.0%</c:formatCode>
                <c:ptCount val="4"/>
                <c:pt idx="0">
                  <c:v>0.54813385052244801</c:v>
                </c:pt>
                <c:pt idx="1">
                  <c:v>0.30518797597174019</c:v>
                </c:pt>
                <c:pt idx="2">
                  <c:v>0.10707237554363629</c:v>
                </c:pt>
                <c:pt idx="3">
                  <c:v>3.96057979621759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B-4402-B1F6-B8E0EAFDC64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7210624"/>
        <c:axId val="127212160"/>
      </c:barChart>
      <c:catAx>
        <c:axId val="127210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27212160"/>
        <c:crosses val="autoZero"/>
        <c:auto val="1"/>
        <c:lblAlgn val="ctr"/>
        <c:lblOffset val="100"/>
        <c:noMultiLvlLbl val="0"/>
      </c:catAx>
      <c:valAx>
        <c:axId val="127212160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2721062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9267675134221054"/>
          <c:y val="0.89670537955077656"/>
          <c:w val="0.64622810230116579"/>
          <c:h val="7.0028485245314465E-2"/>
        </c:manualLayout>
      </c:layout>
      <c:overlay val="0"/>
      <c:txPr>
        <a:bodyPr/>
        <a:lstStyle/>
        <a:p>
          <a:pPr>
            <a:defRPr sz="800" b="0" i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i="1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617784475582208E-2"/>
          <c:y val="5.5290060564656171E-2"/>
          <c:w val="0.84896361650117491"/>
          <c:h val="0.7105782885828462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СВур очередность'!$B$15</c:f>
              <c:strCache>
                <c:ptCount val="1"/>
                <c:pt idx="0">
                  <c:v>1 балағ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5:$W$15</c:f>
              <c:numCache>
                <c:formatCode>0.0%</c:formatCode>
                <c:ptCount val="2"/>
                <c:pt idx="0">
                  <c:v>0.25027153362815607</c:v>
                </c:pt>
                <c:pt idx="1">
                  <c:v>0.24170437471230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5-4105-AEB0-813C81AAC781}"/>
            </c:ext>
          </c:extLst>
        </c:ser>
        <c:ser>
          <c:idx val="2"/>
          <c:order val="1"/>
          <c:tx>
            <c:strRef>
              <c:f>'СВур очередность'!$B$16</c:f>
              <c:strCache>
                <c:ptCount val="1"/>
                <c:pt idx="0">
                  <c:v>2 балағ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6:$W$16</c:f>
              <c:numCache>
                <c:formatCode>0.0%</c:formatCode>
                <c:ptCount val="2"/>
                <c:pt idx="0">
                  <c:v>0.24153110732814023</c:v>
                </c:pt>
                <c:pt idx="1">
                  <c:v>0.24388782254492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5-4105-AEB0-813C81AAC781}"/>
            </c:ext>
          </c:extLst>
        </c:ser>
        <c:ser>
          <c:idx val="3"/>
          <c:order val="2"/>
          <c:tx>
            <c:strRef>
              <c:f>'СВур очередность'!$B$17</c:f>
              <c:strCache>
                <c:ptCount val="1"/>
                <c:pt idx="0">
                  <c:v>3 балағ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7:$W$17</c:f>
              <c:numCache>
                <c:formatCode>0.0%</c:formatCode>
                <c:ptCount val="2"/>
                <c:pt idx="0">
                  <c:v>0.22388842379786073</c:v>
                </c:pt>
                <c:pt idx="1">
                  <c:v>0.21924803932637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5-4105-AEB0-813C81AAC781}"/>
            </c:ext>
          </c:extLst>
        </c:ser>
        <c:ser>
          <c:idx val="4"/>
          <c:order val="3"/>
          <c:tx>
            <c:strRef>
              <c:f>'СВур очередность'!$B$18</c:f>
              <c:strCache>
                <c:ptCount val="1"/>
                <c:pt idx="0">
                  <c:v>4 және одан да көп балаға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8:$W$18</c:f>
              <c:numCache>
                <c:formatCode>0.0%</c:formatCode>
                <c:ptCount val="2"/>
                <c:pt idx="0">
                  <c:v>0.28430893524584294</c:v>
                </c:pt>
                <c:pt idx="1">
                  <c:v>0.29515976341639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65-4105-AEB0-813C81AAC7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9810048"/>
        <c:axId val="109811584"/>
      </c:barChart>
      <c:catAx>
        <c:axId val="10981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811584"/>
        <c:crosses val="autoZero"/>
        <c:auto val="1"/>
        <c:lblAlgn val="ctr"/>
        <c:lblOffset val="100"/>
        <c:noMultiLvlLbl val="0"/>
      </c:catAx>
      <c:valAx>
        <c:axId val="10981158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09810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292905115022005E-2"/>
          <c:y val="0.838885035833416"/>
          <c:w val="0.84685911048859708"/>
          <c:h val="0.139615346372816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RU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99508852481527E-2"/>
          <c:y val="6.32365932405725E-2"/>
          <c:w val="0.94078423377045051"/>
          <c:h val="0.83525996090451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16</c:f>
              <c:numCache>
                <c:formatCode>#,##0</c:formatCode>
                <c:ptCount val="3"/>
                <c:pt idx="0">
                  <c:v>34356.080000000002</c:v>
                </c:pt>
                <c:pt idx="1">
                  <c:v>45997</c:v>
                </c:pt>
                <c:pt idx="2">
                  <c:v>68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3-4E04-B0DD-A072734BA4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748890336"/>
        <c:axId val="1171503728"/>
      </c:barChart>
      <c:catAx>
        <c:axId val="74889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71503728"/>
        <c:crosses val="autoZero"/>
        <c:auto val="1"/>
        <c:lblAlgn val="ctr"/>
        <c:lblOffset val="100"/>
        <c:noMultiLvlLbl val="0"/>
      </c:catAx>
      <c:valAx>
        <c:axId val="11715037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74889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3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балаға</c:v>
                </c:pt>
                <c:pt idx="1">
                  <c:v>2 балаға</c:v>
                </c:pt>
                <c:pt idx="2">
                  <c:v>3 балаға</c:v>
                </c:pt>
                <c:pt idx="3">
                  <c:v>4 және одан да көп бала үшін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68114</c:v>
                </c:pt>
                <c:pt idx="1">
                  <c:v>65136</c:v>
                </c:pt>
                <c:pt idx="2">
                  <c:v>72398</c:v>
                </c:pt>
                <c:pt idx="3">
                  <c:v>70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94-4236-8956-310D0457AE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51485088"/>
        <c:axId val="75430816"/>
      </c:barChart>
      <c:catAx>
        <c:axId val="25148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5430816"/>
        <c:crosses val="autoZero"/>
        <c:auto val="1"/>
        <c:lblAlgn val="ctr"/>
        <c:lblOffset val="100"/>
        <c:noMultiLvlLbl val="0"/>
      </c:catAx>
      <c:valAx>
        <c:axId val="7543081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5148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67614070430008E-2"/>
          <c:y val="7.0089777127553363E-2"/>
          <c:w val="0.93764360684933523"/>
          <c:h val="0.57922703568909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сыраушысынан айырылу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93-4676-8F19-D94D976EEDC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еңбекке қабілеттілігінен айырылу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C$2:$C$3</c:f>
              <c:numCache>
                <c:formatCode>0%</c:formatCode>
                <c:ptCount val="2"/>
                <c:pt idx="0">
                  <c:v>0.03</c:v>
                </c:pt>
                <c:pt idx="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93-4676-8F19-D94D976EEDC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жұмысынан айырылу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D$2:$D$3</c:f>
              <c:numCache>
                <c:formatCode>0%</c:formatCode>
                <c:ptCount val="2"/>
                <c:pt idx="0">
                  <c:v>0.16</c:v>
                </c:pt>
                <c:pt idx="1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93-4676-8F19-D94D976EEDC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жүктілік және босану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2:$E$3</c:f>
              <c:numCache>
                <c:formatCode>0%</c:formatCode>
                <c:ptCount val="2"/>
                <c:pt idx="0">
                  <c:v>0.35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93-4676-8F19-D94D976EEDC5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бала күтімі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F$2:$F$3</c:f>
              <c:numCache>
                <c:formatCode>0%</c:formatCode>
                <c:ptCount val="2"/>
                <c:pt idx="0">
                  <c:v>0.45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93-4676-8F19-D94D976EED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3809071"/>
        <c:axId val="732924879"/>
      </c:barChart>
      <c:catAx>
        <c:axId val="823809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32924879"/>
        <c:crosses val="autoZero"/>
        <c:auto val="1"/>
        <c:lblAlgn val="ctr"/>
        <c:lblOffset val="100"/>
        <c:noMultiLvlLbl val="0"/>
      </c:catAx>
      <c:valAx>
        <c:axId val="73292487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23809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98374280445138E-2"/>
          <c:y val="0.77042060890305741"/>
          <c:w val="0.97329314044640391"/>
          <c:h val="0.210463997334882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88451399200548E-2"/>
          <c:y val="8.459466720546735E-2"/>
          <c:w val="0.94482309720159896"/>
          <c:h val="0.690216993092545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9</c:f>
              <c:strCache>
                <c:ptCount val="1"/>
                <c:pt idx="0">
                  <c:v>дәстүрлі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9:$F$9</c:f>
              <c:numCache>
                <c:formatCode>0.0%</c:formatCode>
                <c:ptCount val="2"/>
                <c:pt idx="0">
                  <c:v>0.48599999999999999</c:v>
                </c:pt>
                <c:pt idx="1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4-46F4-A564-9FDECEF5430E}"/>
            </c:ext>
          </c:extLst>
        </c:ser>
        <c:ser>
          <c:idx val="1"/>
          <c:order val="1"/>
          <c:tx>
            <c:strRef>
              <c:f>Лист1!$D$10</c:f>
              <c:strCache>
                <c:ptCount val="1"/>
                <c:pt idx="0">
                  <c:v>электрондық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10:$F$10</c:f>
              <c:numCache>
                <c:formatCode>0.0%</c:formatCode>
                <c:ptCount val="2"/>
                <c:pt idx="0">
                  <c:v>0.48899999999999999</c:v>
                </c:pt>
                <c:pt idx="1">
                  <c:v>0.59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4-46F4-A564-9FDECEF5430E}"/>
            </c:ext>
          </c:extLst>
        </c:ser>
        <c:ser>
          <c:idx val="2"/>
          <c:order val="2"/>
          <c:tx>
            <c:strRef>
              <c:f>Лист1!$D$11</c:f>
              <c:strCache>
                <c:ptCount val="1"/>
                <c:pt idx="0">
                  <c:v>композиттік</c:v>
                </c:pt>
              </c:strCache>
            </c:strRef>
          </c:tx>
          <c:spPr>
            <a:solidFill>
              <a:srgbClr val="0D5369"/>
            </a:solidFill>
            <a:ln>
              <a:solidFill>
                <a:srgbClr val="0D5369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11:$F$11</c:f>
              <c:numCache>
                <c:formatCode>0.0%</c:formatCode>
                <c:ptCount val="2"/>
                <c:pt idx="0">
                  <c:v>2.5000000000000001E-2</c:v>
                </c:pt>
                <c:pt idx="1">
                  <c:v>1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4-46F4-A564-9FDECEF543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8307088"/>
        <c:axId val="1968061008"/>
      </c:barChart>
      <c:catAx>
        <c:axId val="196830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68061008"/>
        <c:crosses val="autoZero"/>
        <c:auto val="1"/>
        <c:lblAlgn val="ctr"/>
        <c:lblOffset val="100"/>
        <c:noMultiLvlLbl val="0"/>
      </c:catAx>
      <c:valAx>
        <c:axId val="196806100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968307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45689477266979"/>
          <c:y val="0.87057282357460219"/>
          <c:w val="0.53508601297111424"/>
          <c:h val="8.9949665062846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Жамбыл обл.</c:v>
                </c:pt>
                <c:pt idx="1">
                  <c:v>Қостанай  обл.</c:v>
                </c:pt>
                <c:pt idx="2">
                  <c:v>Қызылорда обл.</c:v>
                </c:pt>
                <c:pt idx="3">
                  <c:v>Павлодар обл.</c:v>
                </c:pt>
                <c:pt idx="4">
                  <c:v>Маңғыстау обл.</c:v>
                </c:pt>
                <c:pt idx="5">
                  <c:v>ШҚО обл.</c:v>
                </c:pt>
                <c:pt idx="6">
                  <c:v>Алматы қ.</c:v>
                </c:pt>
                <c:pt idx="7">
                  <c:v>СҚО </c:v>
                </c:pt>
                <c:pt idx="8">
                  <c:v>Ақмола обл.</c:v>
                </c:pt>
                <c:pt idx="9">
                  <c:v>БҚО</c:v>
                </c:pt>
                <c:pt idx="10">
                  <c:v>Шымкент қ.</c:v>
                </c:pt>
                <c:pt idx="11">
                  <c:v>Қарағанды обл.</c:v>
                </c:pt>
                <c:pt idx="12">
                  <c:v>Атырау обл.</c:v>
                </c:pt>
                <c:pt idx="13">
                  <c:v>Астана қ.</c:v>
                </c:pt>
                <c:pt idx="14">
                  <c:v>Жетiсу обл.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61</c:v>
                </c:pt>
                <c:pt idx="1">
                  <c:v>59</c:v>
                </c:pt>
                <c:pt idx="2">
                  <c:v>57</c:v>
                </c:pt>
                <c:pt idx="3">
                  <c:v>29</c:v>
                </c:pt>
                <c:pt idx="4">
                  <c:v>26</c:v>
                </c:pt>
                <c:pt idx="5">
                  <c:v>22</c:v>
                </c:pt>
                <c:pt idx="6">
                  <c:v>19</c:v>
                </c:pt>
                <c:pt idx="7">
                  <c:v>13</c:v>
                </c:pt>
                <c:pt idx="8">
                  <c:v>12</c:v>
                </c:pt>
                <c:pt idx="9">
                  <c:v>21</c:v>
                </c:pt>
                <c:pt idx="10">
                  <c:v>12</c:v>
                </c:pt>
                <c:pt idx="11">
                  <c:v>11</c:v>
                </c:pt>
                <c:pt idx="12">
                  <c:v>14</c:v>
                </c:pt>
                <c:pt idx="13">
                  <c:v>9</c:v>
                </c:pt>
                <c:pt idx="1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51-40D1-B1EE-86F5626E10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5"/>
        <c:overlap val="-27"/>
        <c:axId val="628778575"/>
        <c:axId val="620118671"/>
      </c:barChart>
      <c:catAx>
        <c:axId val="628778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0118671"/>
        <c:crosses val="autoZero"/>
        <c:auto val="1"/>
        <c:lblAlgn val="ctr"/>
        <c:lblOffset val="100"/>
        <c:noMultiLvlLbl val="0"/>
      </c:catAx>
      <c:valAx>
        <c:axId val="6201186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87785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2056371906615"/>
          <c:y val="0.11565604659129838"/>
          <c:w val="0.59914435811956901"/>
          <c:h val="0.803958672424414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66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C-4902-88F7-CBC0698E17F7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1C-4902-88F7-CBC0698E17F7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1C-4902-88F7-CBC0698E17F7}"/>
              </c:ext>
            </c:extLst>
          </c:dPt>
          <c:dPt>
            <c:idx val="3"/>
            <c:bubble3D val="0"/>
            <c:spPr>
              <a:solidFill>
                <a:srgbClr val="FFCA2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1C-4902-88F7-CBC0698E17F7}"/>
              </c:ext>
            </c:extLst>
          </c:dPt>
          <c:dPt>
            <c:idx val="4"/>
            <c:bubble3D val="0"/>
            <c:spPr>
              <a:solidFill>
                <a:srgbClr val="F9D9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51C-4902-88F7-CBC0698E17F7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51C-4902-88F7-CBC0698E17F7}"/>
              </c:ext>
            </c:extLst>
          </c:dPt>
          <c:dPt>
            <c:idx val="6"/>
            <c:bubble3D val="0"/>
            <c:spPr>
              <a:solidFill>
                <a:srgbClr val="9DC3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51C-4902-88F7-CBC0698E17F7}"/>
              </c:ext>
            </c:extLst>
          </c:dPt>
          <c:dLbls>
            <c:dLbl>
              <c:idx val="0"/>
              <c:layout>
                <c:manualLayout>
                  <c:x val="0.20381475497926421"/>
                  <c:y val="-0.15673631542344296"/>
                </c:manualLayout>
              </c:layout>
              <c:tx>
                <c:rich>
                  <a:bodyPr/>
                  <a:lstStyle/>
                  <a:p>
                    <a:fld id="{33C42513-13CC-4758-801C-C576F6091765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AD48FC35-8575-471B-9778-98813975ACB9}" type="VALUE">
                      <a:rPr lang="ru-RU" b="1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48617920529883"/>
                      <c:h val="0.182677941031601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1C-4902-88F7-CBC0698E17F7}"/>
                </c:ext>
              </c:extLst>
            </c:dLbl>
            <c:dLbl>
              <c:idx val="1"/>
              <c:layout>
                <c:manualLayout>
                  <c:x val="0.16020530357234136"/>
                  <c:y val="8.2018632966030375E-2"/>
                </c:manualLayout>
              </c:layout>
              <c:tx>
                <c:rich>
                  <a:bodyPr/>
                  <a:lstStyle/>
                  <a:p>
                    <a:fld id="{E133B5D0-0553-45EC-8C37-3EA38812BAF2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AA2B8658-06CF-45E9-8888-515B81EC5C6B}" type="VALUE">
                      <a:rPr lang="ru-RU" b="1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51C-4902-88F7-CBC0698E17F7}"/>
                </c:ext>
              </c:extLst>
            </c:dLbl>
            <c:dLbl>
              <c:idx val="2"/>
              <c:layout>
                <c:manualLayout>
                  <c:x val="0.14850877197338477"/>
                  <c:y val="0.210228603508065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5B67C57-1172-4EA7-B6FD-DACED7E0A4C5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pPr>
                      <a:defRPr sz="800" i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DBA2EF7E-7A53-4ABC-9BF3-F4B84AB89515}" type="VALUE">
                      <a:rPr lang="ru-RU" b="1" baseline="0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312181345881771"/>
                      <c:h val="0.1398712331892172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51C-4902-88F7-CBC0698E17F7}"/>
                </c:ext>
              </c:extLst>
            </c:dLbl>
            <c:dLbl>
              <c:idx val="3"/>
              <c:layout>
                <c:manualLayout>
                  <c:x val="-0.21370279126978964"/>
                  <c:y val="0.17192938730427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9EA52EF-FCF0-4245-B6B7-E4AAAF8845AF}" type="CATEGORYNAME">
                      <a:rPr lang="ru-RU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endParaRPr lang="ru-RU" dirty="0"/>
                  </a:p>
                  <a:p>
                    <a:pPr>
                      <a:defRPr sz="800" i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31666995-9958-468E-8485-5888311F1007}" type="VALUE">
                      <a:rPr lang="ru-RU" b="1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113053155243741"/>
                      <c:h val="0.165927413707929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51C-4902-88F7-CBC0698E17F7}"/>
                </c:ext>
              </c:extLst>
            </c:dLbl>
            <c:dLbl>
              <c:idx val="4"/>
              <c:layout>
                <c:manualLayout>
                  <c:x val="-0.2112555852737775"/>
                  <c:y val="6.3590645237046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23EA71F-E53F-435A-B269-086119C5E736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EA5C7560-582B-4024-9E6D-589275DC3EF6}" type="VALUE">
                      <a:rPr lang="ru-RU" b="1" baseline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68811108868162"/>
                      <c:h val="0.2494655151393382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51C-4902-88F7-CBC0698E17F7}"/>
                </c:ext>
              </c:extLst>
            </c:dLbl>
            <c:dLbl>
              <c:idx val="5"/>
              <c:layout>
                <c:manualLayout>
                  <c:x val="-0.20330332978286877"/>
                  <c:y val="-0.1182000074424454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F60FF62-AB17-4AA7-B3A6-C9773E580452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A1C135D5-3EE3-4F22-B3DC-9AB0E5FE0337}" type="VALUE">
                      <a:rPr lang="ru-RU" b="1" baseline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641614148379413"/>
                      <c:h val="0.1501816707211582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51C-4902-88F7-CBC0698E17F7}"/>
                </c:ext>
              </c:extLst>
            </c:dLbl>
            <c:dLbl>
              <c:idx val="6"/>
              <c:layout>
                <c:manualLayout>
                  <c:x val="-6.1559742231257909E-2"/>
                  <c:y val="-0.16371635255688702"/>
                </c:manualLayout>
              </c:layout>
              <c:tx>
                <c:rich>
                  <a:bodyPr/>
                  <a:lstStyle/>
                  <a:p>
                    <a:fld id="{E08F1D1F-8C6E-4820-A6C1-C1953E87FDE0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E241735B-2412-4D8B-834C-EECF3A64D768}" type="VALUE">
                      <a:rPr lang="ru-RU" b="1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51C-4902-88F7-CBC0698E17F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1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7"/>
                <c:pt idx="0">
                  <c:v>жүктілігі және босану бойынша</c:v>
                </c:pt>
                <c:pt idx="1">
                  <c:v>жұмысынан айырылу бойынша</c:v>
                </c:pt>
                <c:pt idx="2">
                  <c:v>бала күтімі бойынша</c:v>
                </c:pt>
                <c:pt idx="3">
                  <c:v>әлеуметтік аударымдар</c:v>
                </c:pt>
                <c:pt idx="4">
                  <c:v>еңбекке қабілеттілігінен айырылу бойынша</c:v>
                </c:pt>
                <c:pt idx="5">
                  <c:v>асыраушысынан айырылуы бойынша</c:v>
                </c:pt>
                <c:pt idx="6">
                  <c:v>басқалары</c:v>
                </c:pt>
              </c:strCache>
            </c:strRef>
          </c:cat>
          <c:val>
            <c:numRef>
              <c:f>Лист1!$B$2:$B$10</c:f>
              <c:numCache>
                <c:formatCode>0.0%</c:formatCode>
                <c:ptCount val="7"/>
                <c:pt idx="0">
                  <c:v>0.23300000000000001</c:v>
                </c:pt>
                <c:pt idx="1">
                  <c:v>9.9000000000000005E-2</c:v>
                </c:pt>
                <c:pt idx="2">
                  <c:v>7.0000000000000007E-2</c:v>
                </c:pt>
                <c:pt idx="3">
                  <c:v>0.44</c:v>
                </c:pt>
                <c:pt idx="4">
                  <c:v>1.2E-2</c:v>
                </c:pt>
                <c:pt idx="5">
                  <c:v>8.9999999999999993E-3</c:v>
                </c:pt>
                <c:pt idx="6">
                  <c:v>0.13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1C-4902-88F7-CBC0698E17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86177967495061"/>
          <c:y val="0.10027098735171967"/>
          <c:w val="0.4653193279016245"/>
          <c:h val="0.7074913976392268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CB-4EB4-8F86-2B5DC90DC5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AC-4D9C-A59E-36CE19825C2D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CB-4EB4-8F86-2B5DC90DC5F8}"/>
              </c:ext>
            </c:extLst>
          </c:dPt>
          <c:dPt>
            <c:idx val="3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AC-4D9C-A59E-36CE19825C2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AC-4D9C-A59E-36CE19825C2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4CB-4EB4-8F86-2B5DC90DC5F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4CB-4EB4-8F86-2B5DC90DC5F8}"/>
              </c:ext>
            </c:extLst>
          </c:dPt>
          <c:dPt>
            <c:idx val="7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4CB-4EB4-8F86-2B5DC90DC5F8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BAC-4D9C-A59E-36CE19825C2D}"/>
                </c:ext>
              </c:extLst>
            </c:dLbl>
            <c:dLbl>
              <c:idx val="3"/>
              <c:layout>
                <c:manualLayout>
                  <c:x val="-1.6065457605349987E-2"/>
                  <c:y val="-7.00686047041964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AC-4D9C-A59E-36CE19825C2D}"/>
                </c:ext>
              </c:extLst>
            </c:dLbl>
            <c:dLbl>
              <c:idx val="4"/>
              <c:layout>
                <c:manualLayout>
                  <c:x val="2.8122854801922097E-2"/>
                  <c:y val="2.80274418816785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AC-4D9C-A59E-36CE19825C2D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54CB-4EB4-8F86-2B5DC90DC5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9</c:f>
              <c:strCache>
                <c:ptCount val="8"/>
                <c:pt idx="0">
                  <c:v>шешімдер МӘСҚ пайдасына шығарылды</c:v>
                </c:pt>
                <c:pt idx="1">
                  <c:v>шешімдер МӘСҚ-ның пайдасына шығарылмады</c:v>
                </c:pt>
                <c:pt idx="2">
                  <c:v>медиативтік келісімдер жасалды</c:v>
                </c:pt>
                <c:pt idx="3">
                  <c:v>бітімгершілік келісім жасалды</c:v>
                </c:pt>
                <c:pt idx="4">
                  <c:v>артық төлем сомаларын өтеуге байланысты іс бойынша іс жүргізу тоқтатылды</c:v>
                </c:pt>
                <c:pt idx="5">
                  <c:v>артық төлем сомаларын өтеуге байланысты сот қараусыз қалдырды</c:v>
                </c:pt>
                <c:pt idx="6">
                  <c:v>артық төлем сомаларын толық өтеуге байланысты қайтарылды</c:v>
                </c:pt>
                <c:pt idx="7">
                  <c:v>қарауда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18</c:v>
                </c:pt>
                <c:pt idx="1">
                  <c:v>1</c:v>
                </c:pt>
                <c:pt idx="2">
                  <c:v>100</c:v>
                </c:pt>
                <c:pt idx="3">
                  <c:v>2</c:v>
                </c:pt>
                <c:pt idx="4">
                  <c:v>3</c:v>
                </c:pt>
                <c:pt idx="5">
                  <c:v>15</c:v>
                </c:pt>
                <c:pt idx="6">
                  <c:v>4</c:v>
                </c:pt>
                <c:pt idx="7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AC-4D9C-A59E-36CE19825C2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41230614790699"/>
          <c:y val="5.1866951305813966E-2"/>
          <c:w val="0.35749555275065137"/>
          <c:h val="0.882252376447532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E$8</c:f>
              <c:strCache>
                <c:ptCount val="1"/>
                <c:pt idx="0">
                  <c:v>С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D$9:$D$11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E$9:$E$11</c:f>
              <c:numCache>
                <c:formatCode>General</c:formatCode>
                <c:ptCount val="3"/>
                <c:pt idx="0">
                  <c:v>323</c:v>
                </c:pt>
                <c:pt idx="1">
                  <c:v>432.3</c:v>
                </c:pt>
                <c:pt idx="2">
                  <c:v>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F-4FE7-927C-F9984E445A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3266895"/>
        <c:axId val="773019391"/>
      </c:barChart>
      <c:catAx>
        <c:axId val="793266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73019391"/>
        <c:crosses val="autoZero"/>
        <c:auto val="1"/>
        <c:lblAlgn val="ctr"/>
        <c:lblOffset val="100"/>
        <c:noMultiLvlLbl val="0"/>
      </c:catAx>
      <c:valAx>
        <c:axId val="7730193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3266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813781725807693E-2"/>
          <c:y val="6.6018173191612434E-2"/>
          <c:w val="0.86455593663997898"/>
          <c:h val="0.59776617117277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ИУ с переоценкой'!$B$5</c:f>
              <c:strCache>
                <c:ptCount val="1"/>
                <c:pt idx="0">
                  <c:v>Қаржы құралдарына орналастырылған МӘСҚ активтері (млрд. теңге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3144805336832895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5:$J$5</c:f>
              <c:numCache>
                <c:formatCode>_ * #\ ##0.0_)\ _₽_ ;_ * \(#\ ##0.0\)\ _₽_ ;_ * "-"??_)\ _₽_ ;_ @_ </c:formatCode>
                <c:ptCount val="3"/>
                <c:pt idx="0">
                  <c:v>1215.5957601077623</c:v>
                </c:pt>
                <c:pt idx="1">
                  <c:v>1314.1</c:v>
                </c:pt>
                <c:pt idx="2" formatCode="General">
                  <c:v>115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20-420D-A2CC-5257004EFB36}"/>
            </c:ext>
          </c:extLst>
        </c:ser>
        <c:ser>
          <c:idx val="1"/>
          <c:order val="1"/>
          <c:tx>
            <c:strRef>
              <c:f>'ИУ с переоценкой'!$B$6</c:f>
              <c:strCache>
                <c:ptCount val="1"/>
                <c:pt idx="0">
                  <c:v>Есепті кезеңдегі инвестициялық кіріс (млрд. тең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3888888888888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20-420D-A2CC-5257004EFB36}"/>
                </c:ext>
              </c:extLst>
            </c:dLbl>
            <c:dLbl>
              <c:idx val="1"/>
              <c:layout>
                <c:manualLayout>
                  <c:x val="0"/>
                  <c:y val="4.62962962962962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6:$J$6</c:f>
              <c:numCache>
                <c:formatCode>_ * #\ ##0.0_)\ _₽_ ;_ * \(#\ ##0.0\)\ _₽_ ;_ * "-"??_)\ _₽_ ;_ @_ </c:formatCode>
                <c:ptCount val="3"/>
                <c:pt idx="0" formatCode="General">
                  <c:v>122.9</c:v>
                </c:pt>
                <c:pt idx="1">
                  <c:v>130.5</c:v>
                </c:pt>
                <c:pt idx="2" formatCode="General">
                  <c:v>9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99266655"/>
        <c:axId val="1"/>
      </c:barChart>
      <c:lineChart>
        <c:grouping val="standard"/>
        <c:varyColors val="0"/>
        <c:ser>
          <c:idx val="2"/>
          <c:order val="2"/>
          <c:tx>
            <c:strRef>
              <c:f>'ИУ с переоценкой'!$B$7</c:f>
              <c:strCache>
                <c:ptCount val="1"/>
                <c:pt idx="0">
                  <c:v>Есепті кезеңдегі активтердің кірістілігі, в %</c:v>
                </c:pt>
              </c:strCache>
            </c:strRef>
          </c:tx>
          <c:spPr>
            <a:ln w="19050" cap="rnd" cmpd="sng" algn="ctr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FFC000"/>
              </a:solidFill>
              <a:ln w="6350" cap="flat" cmpd="sng" algn="ctr">
                <a:solidFill>
                  <a:srgbClr val="FFC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3888888888888888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20-420D-A2CC-5257004EFB36}"/>
                </c:ext>
              </c:extLst>
            </c:dLbl>
            <c:dLbl>
              <c:idx val="1"/>
              <c:layout>
                <c:manualLayout>
                  <c:x val="-1.1111111111111162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E20-420D-A2CC-5257004EFB36}"/>
                </c:ext>
              </c:extLst>
            </c:dLbl>
            <c:dLbl>
              <c:idx val="2"/>
              <c:layout>
                <c:manualLayout>
                  <c:x val="-9.5447642241941154E-3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20-420D-A2CC-5257004EFB3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7:$J$7</c:f>
              <c:numCache>
                <c:formatCode>_ * #\ ##0.00_)\ _₽_ ;_ * \(#\ ##0.00\)\ _₽_ ;_ * "-"??_)\ _₽_ ;_ @_ </c:formatCode>
                <c:ptCount val="3"/>
                <c:pt idx="0" formatCode="General">
                  <c:v>11.02</c:v>
                </c:pt>
                <c:pt idx="1">
                  <c:v>10.7</c:v>
                </c:pt>
                <c:pt idx="2" formatCode="General">
                  <c:v>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catAx>
        <c:axId val="1999266655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99266655"/>
        <c:crosses val="autoZero"/>
        <c:crossBetween val="between"/>
      </c:valAx>
      <c:catAx>
        <c:axId val="3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4"/>
        <c:crosses val="autoZero"/>
        <c:auto val="1"/>
        <c:lblAlgn val="ctr"/>
        <c:lblOffset val="100"/>
        <c:noMultiLvlLbl val="0"/>
      </c:catAx>
      <c:valAx>
        <c:axId val="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4380714349629018"/>
          <c:w val="0.99876579646956543"/>
          <c:h val="0.24727870602016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4690540025056901E-2"/>
          <c:y val="5.0673639687803876E-2"/>
          <c:w val="0.89232719213300127"/>
          <c:h val="0.94932624477300709"/>
        </c:manualLayout>
      </c:layout>
      <c:pie3DChart>
        <c:varyColors val="1"/>
        <c:ser>
          <c:idx val="0"/>
          <c:order val="0"/>
          <c:tx>
            <c:strRef>
              <c:f>'диаграмма 3'!$AD$6</c:f>
              <c:strCache>
                <c:ptCount val="1"/>
                <c:pt idx="0">
                  <c:v>на 01.01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D$7:$AD$13</c:f>
            </c:numRef>
          </c:val>
          <c:extLst>
            <c:ext xmlns:c16="http://schemas.microsoft.com/office/drawing/2014/chart" uri="{C3380CC4-5D6E-409C-BE32-E72D297353CC}">
              <c16:uniqueId val="{00000007-4352-4055-A333-ABE64EB98876}"/>
            </c:ext>
          </c:extLst>
        </c:ser>
        <c:ser>
          <c:idx val="1"/>
          <c:order val="1"/>
          <c:tx>
            <c:strRef>
              <c:f>'диаграмма 3'!$AE$6</c:f>
              <c:strCache>
                <c:ptCount val="1"/>
                <c:pt idx="0">
                  <c:v>на 01.04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8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9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B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C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D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E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E$7:$AE$13</c:f>
            </c:numRef>
          </c:val>
          <c:extLst>
            <c:ext xmlns:c16="http://schemas.microsoft.com/office/drawing/2014/chart" uri="{C3380CC4-5D6E-409C-BE32-E72D297353CC}">
              <c16:uniqueId val="{0000000F-4352-4055-A333-ABE64EB98876}"/>
            </c:ext>
          </c:extLst>
        </c:ser>
        <c:ser>
          <c:idx val="2"/>
          <c:order val="2"/>
          <c:tx>
            <c:strRef>
              <c:f>'диаграмма 3'!$AF$6</c:f>
              <c:strCache>
                <c:ptCount val="1"/>
                <c:pt idx="0">
                  <c:v>на 01.01.202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4352-4055-A333-ABE64EB98876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4352-4055-A333-ABE64EB9887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4352-4055-A333-ABE64EB98876}"/>
              </c:ext>
            </c:extLst>
          </c:dPt>
          <c:dPt>
            <c:idx val="3"/>
            <c:bubble3D val="0"/>
            <c:spPr>
              <a:solidFill>
                <a:srgbClr val="0D5369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4352-4055-A333-ABE64EB98876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4352-4055-A333-ABE64EB9887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4352-4055-A333-ABE64EB9887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4352-4055-A333-ABE64EB98876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4352-4055-A333-ABE64EB98876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4352-4055-A333-ABE64EB98876}"/>
                </c:ext>
              </c:extLst>
            </c:dLbl>
            <c:dLbl>
              <c:idx val="4"/>
              <c:layout>
                <c:manualLayout>
                  <c:x val="2.0663809046879505E-2"/>
                  <c:y val="2.6218383856309892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5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/>
                      <a:t>0,01%</a:t>
                    </a: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876490804333797"/>
                      <c:h val="0.111958860654192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4352-4055-A333-ABE64EB9887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F$7:$AF$13</c:f>
              <c:numCache>
                <c:formatCode>0.0%</c:formatCode>
                <c:ptCount val="7"/>
                <c:pt idx="1">
                  <c:v>0.65200000000000002</c:v>
                </c:pt>
                <c:pt idx="2">
                  <c:v>0.216</c:v>
                </c:pt>
                <c:pt idx="3">
                  <c:v>0.13200000000000001</c:v>
                </c:pt>
                <c:pt idx="4">
                  <c:v>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352-4055-A333-ABE64EB9887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102454453746385"/>
          <c:y val="0.1017929119376965"/>
          <c:w val="0.27182566827296001"/>
          <c:h val="0.69211533809331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 государственной закупки по плану  (млн. тенге)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20-443B-A694-1B2BF55C8FB2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rgbClr val="FF66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20-443B-A694-1B2BF55C8FB2}"/>
              </c:ext>
            </c:extLst>
          </c:dPt>
          <c:dPt>
            <c:idx val="2"/>
            <c:bubble3D val="0"/>
            <c:spPr>
              <a:solidFill>
                <a:srgbClr val="0088B8"/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20-443B-A694-1B2BF55C8FB2}"/>
              </c:ext>
            </c:extLst>
          </c:dPt>
          <c:dLbls>
            <c:dLbl>
              <c:idx val="1"/>
              <c:layout>
                <c:manualLayout>
                  <c:x val="1.4291857740552142E-2"/>
                  <c:y val="0.12996268126724042"/>
                </c:manualLayout>
              </c:layout>
              <c:spPr>
                <a:solidFill>
                  <a:srgbClr val="FF66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20-443B-A694-1B2BF55C8FB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520-443B-A694-1B2BF55C8F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ауарлар</c:v>
                </c:pt>
                <c:pt idx="1">
                  <c:v>жұмыстар</c:v>
                </c:pt>
                <c:pt idx="2">
                  <c:v>қызметтер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80</c:v>
                </c:pt>
                <c:pt idx="1">
                  <c:v>2</c:v>
                </c:pt>
                <c:pt idx="2">
                  <c:v>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0-443B-A694-1B2BF55C8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554605265802031"/>
          <c:y val="0.89683255362546765"/>
          <c:w val="0.52074111883221541"/>
          <c:h val="7.7174910121084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03528046185867"/>
          <c:y val="5.6303380095980231E-2"/>
          <c:w val="0.33188253718201549"/>
          <c:h val="0.7563039968387714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купок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CBD-4545-B7D2-D9EF84E3F4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BD-4545-B7D2-D9EF84E3F414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BD-4545-B7D2-D9EF84E3F414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BD-4545-B7D2-D9EF84E3F414}"/>
              </c:ext>
            </c:extLst>
          </c:dPt>
          <c:dPt>
            <c:idx val="4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BD-4545-B7D2-D9EF84E3F41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CBD-4545-B7D2-D9EF84E3F414}"/>
              </c:ext>
            </c:extLst>
          </c:dPt>
          <c:dPt>
            <c:idx val="6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BD-4545-B7D2-D9EF84E3F414}"/>
              </c:ext>
            </c:extLst>
          </c:dPt>
          <c:dLbls>
            <c:dLbl>
              <c:idx val="0"/>
              <c:layout>
                <c:manualLayout>
                  <c:x val="4.4488980132167304E-3"/>
                  <c:y val="-7.88900652142924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CBD-4545-B7D2-D9EF84E3F41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2-DCBD-4545-B7D2-D9EF84E3F41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DCBD-4545-B7D2-D9EF84E3F414}"/>
                </c:ext>
              </c:extLst>
            </c:dLbl>
            <c:dLbl>
              <c:idx val="5"/>
              <c:layout>
                <c:manualLayout>
                  <c:x val="-4.6461864960967887E-3"/>
                  <c:y val="-4.9234366828597338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BD-4545-B7D2-D9EF84E3F414}"/>
                </c:ext>
              </c:extLst>
            </c:dLbl>
            <c:dLbl>
              <c:idx val="6"/>
              <c:layout>
                <c:manualLayout>
                  <c:x val="6.6733470198250952E-3"/>
                  <c:y val="7.965438800722228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BD-4545-B7D2-D9EF84E3F4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аукцион </c:v>
                </c:pt>
                <c:pt idx="1">
                  <c:v>ашық байқау</c:v>
                </c:pt>
                <c:pt idx="2">
                  <c:v>баға ұсыныстарын сұрау</c:v>
                </c:pt>
                <c:pt idx="3">
                  <c:v>тікелей шарт жасасу арқылы бір көзден</c:v>
                </c:pt>
                <c:pt idx="4">
                  <c:v>өткізілмеген сатып алулар бойынша бір көзден</c:v>
                </c:pt>
                <c:pt idx="5">
                  <c:v>электрондық дүкен</c:v>
                </c:pt>
                <c:pt idx="6">
                  <c:v>конкурс с предварительным квалификационым отборо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</c:v>
                </c:pt>
                <c:pt idx="1">
                  <c:v>49</c:v>
                </c:pt>
                <c:pt idx="2">
                  <c:v>79</c:v>
                </c:pt>
                <c:pt idx="3">
                  <c:v>23</c:v>
                </c:pt>
                <c:pt idx="4">
                  <c:v>52</c:v>
                </c:pt>
                <c:pt idx="5">
                  <c:v>10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BD-4545-B7D2-D9EF84E3F4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9787479294671009"/>
          <c:y val="2.9585120094079639E-2"/>
          <c:w val="0.29536155105070583"/>
          <c:h val="0.816494210697503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78837291740519"/>
          <c:y val="6.0188946127036442E-3"/>
          <c:w val="0.45540299604815743"/>
          <c:h val="0.7644652925103442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81-4D3F-ADAC-F0BD2CF20118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81-4D3F-ADAC-F0BD2CF20118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81-4D3F-ADAC-F0BD2CF20118}"/>
              </c:ext>
            </c:extLst>
          </c:dPt>
          <c:dLbls>
            <c:dLbl>
              <c:idx val="0"/>
              <c:layout>
                <c:manualLayout>
                  <c:x val="6.6695550566518306E-3"/>
                  <c:y val="-1.119589331107084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81-4D3F-ADAC-F0BD2CF20118}"/>
                </c:ext>
              </c:extLst>
            </c:dLbl>
            <c:dLbl>
              <c:idx val="1"/>
              <c:layout>
                <c:manualLayout>
                  <c:x val="6.6695550566518306E-3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81-4D3F-ADAC-F0BD2CF20118}"/>
                </c:ext>
              </c:extLst>
            </c:dLbl>
            <c:dLbl>
              <c:idx val="2"/>
              <c:layout>
                <c:manualLayout>
                  <c:x val="0"/>
                  <c:y val="1.1195893311070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81-4D3F-ADAC-F0BD2CF2011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25 жастан 35 жасқа дейін</c:v>
                </c:pt>
                <c:pt idx="1">
                  <c:v>36 жастан 50 жасқа дейін</c:v>
                </c:pt>
                <c:pt idx="2">
                  <c:v>от 51 51 және одан жоғары выше</c:v>
                </c:pt>
              </c:strCache>
            </c:str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32500000000000001</c:v>
                </c:pt>
                <c:pt idx="1">
                  <c:v>0.502</c:v>
                </c:pt>
                <c:pt idx="2">
                  <c:v>0.17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3-49BD-AC59-AFF86E5CC1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297320361836489"/>
          <c:y val="0.2288365659638672"/>
          <c:w val="0.29368333333333335"/>
          <c:h val="0.29601754280376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82585621726566E-2"/>
          <c:y val="6.9444444444444448E-2"/>
          <c:w val="0.93378812902675457"/>
          <c:h val="0.626258384368620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963507036744789E-2"/>
                </c:manualLayout>
              </c:layout>
              <c:numFmt formatCode="#,##0" sourceLinked="0"/>
              <c:spPr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KZ"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EC-422C-A700-6AFB04B039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Абай</c:v>
                </c:pt>
                <c:pt idx="3">
                  <c:v>СҚО</c:v>
                </c:pt>
                <c:pt idx="4">
                  <c:v>Қызылорда</c:v>
                </c:pt>
                <c:pt idx="5">
                  <c:v>БҚО</c:v>
                </c:pt>
                <c:pt idx="6">
                  <c:v>Ақмола</c:v>
                </c:pt>
                <c:pt idx="7">
                  <c:v>Жамбыл</c:v>
                </c:pt>
                <c:pt idx="8">
                  <c:v>Алматы</c:v>
                </c:pt>
                <c:pt idx="9">
                  <c:v>Шымкент қ.</c:v>
                </c:pt>
                <c:pt idx="10">
                  <c:v>Қостанай</c:v>
                </c:pt>
                <c:pt idx="11">
                  <c:v>ШҚО</c:v>
                </c:pt>
                <c:pt idx="12">
                  <c:v>Павлодар</c:v>
                </c:pt>
                <c:pt idx="13">
                  <c:v>Маңғыстау</c:v>
                </c:pt>
                <c:pt idx="14">
                  <c:v>Түркістан</c:v>
                </c:pt>
                <c:pt idx="15">
                  <c:v>Ақтөбе</c:v>
                </c:pt>
                <c:pt idx="16">
                  <c:v>Атырау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'СО и СВ '!$B$5:$B$24</c:f>
              <c:numCache>
                <c:formatCode>0.00</c:formatCode>
                <c:ptCount val="20"/>
                <c:pt idx="0">
                  <c:v>7.2939004650400001</c:v>
                </c:pt>
                <c:pt idx="1">
                  <c:v>10.391707352899999</c:v>
                </c:pt>
                <c:pt idx="2">
                  <c:v>11.194620315530001</c:v>
                </c:pt>
                <c:pt idx="3">
                  <c:v>11.40746318205</c:v>
                </c:pt>
                <c:pt idx="4">
                  <c:v>13.327540960259999</c:v>
                </c:pt>
                <c:pt idx="5">
                  <c:v>15.33148055285</c:v>
                </c:pt>
                <c:pt idx="6">
                  <c:v>17.0252016572</c:v>
                </c:pt>
                <c:pt idx="7">
                  <c:v>18.202525943169999</c:v>
                </c:pt>
                <c:pt idx="8">
                  <c:v>18.526846258700001</c:v>
                </c:pt>
                <c:pt idx="9">
                  <c:v>18.80413544376</c:v>
                </c:pt>
                <c:pt idx="10">
                  <c:v>19.100018289859999</c:v>
                </c:pt>
                <c:pt idx="11">
                  <c:v>20.35380320838</c:v>
                </c:pt>
                <c:pt idx="12">
                  <c:v>21.440293994600001</c:v>
                </c:pt>
                <c:pt idx="13">
                  <c:v>21.915173915159997</c:v>
                </c:pt>
                <c:pt idx="14">
                  <c:v>22.362585000279999</c:v>
                </c:pt>
                <c:pt idx="15">
                  <c:v>24.070227105119997</c:v>
                </c:pt>
                <c:pt idx="16">
                  <c:v>24.679754243090002</c:v>
                </c:pt>
                <c:pt idx="17">
                  <c:v>33.031944136140005</c:v>
                </c:pt>
                <c:pt idx="18">
                  <c:v>55.520465149569993</c:v>
                </c:pt>
                <c:pt idx="19">
                  <c:v>86.26414272325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3-41C1-B67E-C7E12C83C9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99056975"/>
        <c:axId val="75435871"/>
      </c:barChart>
      <c:lineChart>
        <c:grouping val="standard"/>
        <c:varyColors val="0"/>
        <c:ser>
          <c:idx val="1"/>
          <c:order val="1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19"/>
              <c:layout>
                <c:manualLayout>
                  <c:x val="-4.952775562774614E-4"/>
                  <c:y val="-8.1121142984335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ru-KZ" sz="8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699267809693754E-2"/>
                      <c:h val="8.1018428350166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A83-41C1-B67E-C7E12C83C9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Абай</c:v>
                </c:pt>
                <c:pt idx="3">
                  <c:v>СҚО</c:v>
                </c:pt>
                <c:pt idx="4">
                  <c:v>Қызылорда</c:v>
                </c:pt>
                <c:pt idx="5">
                  <c:v>БҚО</c:v>
                </c:pt>
                <c:pt idx="6">
                  <c:v>Ақмола</c:v>
                </c:pt>
                <c:pt idx="7">
                  <c:v>Жамбыл</c:v>
                </c:pt>
                <c:pt idx="8">
                  <c:v>Алматы</c:v>
                </c:pt>
                <c:pt idx="9">
                  <c:v>Шымкент қ.</c:v>
                </c:pt>
                <c:pt idx="10">
                  <c:v>Қостанай</c:v>
                </c:pt>
                <c:pt idx="11">
                  <c:v>ШҚО</c:v>
                </c:pt>
                <c:pt idx="12">
                  <c:v>Павлодар</c:v>
                </c:pt>
                <c:pt idx="13">
                  <c:v>Маңғыстау</c:v>
                </c:pt>
                <c:pt idx="14">
                  <c:v>Түркістан</c:v>
                </c:pt>
                <c:pt idx="15">
                  <c:v>Ақтөбе</c:v>
                </c:pt>
                <c:pt idx="16">
                  <c:v>Атырау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'СО и СВ '!$C$5:$C$24</c:f>
              <c:numCache>
                <c:formatCode>0%</c:formatCode>
                <c:ptCount val="20"/>
                <c:pt idx="0">
                  <c:v>1.3557075794271812E-2</c:v>
                </c:pt>
                <c:pt idx="1">
                  <c:v>1.9314928259633768E-2</c:v>
                </c:pt>
                <c:pt idx="2">
                  <c:v>2.0807291905498047E-2</c:v>
                </c:pt>
                <c:pt idx="3">
                  <c:v>2.1202900110944799E-2</c:v>
                </c:pt>
                <c:pt idx="4">
                  <c:v>2.4771723142580072E-2</c:v>
                </c:pt>
                <c:pt idx="5">
                  <c:v>2.8496419013342249E-2</c:v>
                </c:pt>
                <c:pt idx="6">
                  <c:v>3.164451590554529E-2</c:v>
                </c:pt>
                <c:pt idx="7">
                  <c:v>3.3832792898881615E-2</c:v>
                </c:pt>
                <c:pt idx="8">
                  <c:v>3.4435602756287355E-2</c:v>
                </c:pt>
                <c:pt idx="9">
                  <c:v>3.4950996476945925E-2</c:v>
                </c:pt>
                <c:pt idx="10">
                  <c:v>3.550094998810624E-2</c:v>
                </c:pt>
                <c:pt idx="11">
                  <c:v>3.7831343342328863E-2</c:v>
                </c:pt>
                <c:pt idx="12">
                  <c:v>3.9850789317656107E-2</c:v>
                </c:pt>
                <c:pt idx="13">
                  <c:v>4.073344231066954E-2</c:v>
                </c:pt>
                <c:pt idx="14">
                  <c:v>4.1565039344553113E-2</c:v>
                </c:pt>
                <c:pt idx="15">
                  <c:v>4.4739011015234358E-2</c:v>
                </c:pt>
                <c:pt idx="16">
                  <c:v>4.5871931000601829E-2</c:v>
                </c:pt>
                <c:pt idx="17">
                  <c:v>6.1396035280740086E-2</c:v>
                </c:pt>
                <c:pt idx="18">
                  <c:v>0.10319515021813767</c:v>
                </c:pt>
                <c:pt idx="19">
                  <c:v>0.1603380148704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83-41C1-B67E-C7E12C83C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849215"/>
        <c:axId val="120145439"/>
      </c:lineChart>
      <c:catAx>
        <c:axId val="199056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5435871"/>
        <c:crosses val="autoZero"/>
        <c:auto val="1"/>
        <c:lblAlgn val="ctr"/>
        <c:lblOffset val="100"/>
        <c:noMultiLvlLbl val="0"/>
      </c:catAx>
      <c:valAx>
        <c:axId val="75435871"/>
        <c:scaling>
          <c:orientation val="minMax"/>
          <c:max val="9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9056975"/>
        <c:crosses val="autoZero"/>
        <c:crossBetween val="between"/>
      </c:valAx>
      <c:valAx>
        <c:axId val="120145439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8849215"/>
        <c:crosses val="max"/>
        <c:crossBetween val="between"/>
      </c:valAx>
      <c:catAx>
        <c:axId val="2688492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145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решек саны (мың төлеуші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2"/>
              <c:layout>
                <c:manualLayout>
                  <c:x val="-1.4378918860822581E-16"/>
                  <c:y val="5.53818689422992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5C3-4C2D-B00B-F5360723FBB0}"/>
                </c:ext>
              </c:extLst>
            </c:dLbl>
            <c:numFmt formatCode="#,##0.0" sourceLinked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БҚО</c:v>
                </c:pt>
                <c:pt idx="2">
                  <c:v>Қызылорда</c:v>
                </c:pt>
                <c:pt idx="3">
                  <c:v>Қостанай</c:v>
                </c:pt>
                <c:pt idx="4">
                  <c:v>Атырау</c:v>
                </c:pt>
                <c:pt idx="5">
                  <c:v>Павлодар</c:v>
                </c:pt>
                <c:pt idx="6">
                  <c:v>ШҚО</c:v>
                </c:pt>
                <c:pt idx="7">
                  <c:v>Шымкент қ.</c:v>
                </c:pt>
                <c:pt idx="8">
                  <c:v>Жамбыл </c:v>
                </c:pt>
                <c:pt idx="9">
                  <c:v>Ақтөбе </c:v>
                </c:pt>
                <c:pt idx="10">
                  <c:v>Жетісу</c:v>
                </c:pt>
                <c:pt idx="11">
                  <c:v>Маңғыстау</c:v>
                </c:pt>
                <c:pt idx="12">
                  <c:v>СҚО</c:v>
                </c:pt>
                <c:pt idx="13">
                  <c:v>Қарағанды</c:v>
                </c:pt>
                <c:pt idx="14">
                  <c:v>Алматы қ.</c:v>
                </c:pt>
                <c:pt idx="15">
                  <c:v>Алматы обл.</c:v>
                </c:pt>
                <c:pt idx="16">
                  <c:v>Астана қ.</c:v>
                </c:pt>
                <c:pt idx="17">
                  <c:v>Ақмола</c:v>
                </c:pt>
                <c:pt idx="18">
                  <c:v>Түркістан</c:v>
                </c:pt>
                <c:pt idx="19">
                  <c:v>Абай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0.4</c:v>
                </c:pt>
                <c:pt idx="1">
                  <c:v>0.8</c:v>
                </c:pt>
                <c:pt idx="2">
                  <c:v>2</c:v>
                </c:pt>
                <c:pt idx="3">
                  <c:v>1.1000000000000001</c:v>
                </c:pt>
                <c:pt idx="4">
                  <c:v>1.8</c:v>
                </c:pt>
                <c:pt idx="5">
                  <c:v>1.2</c:v>
                </c:pt>
                <c:pt idx="6">
                  <c:v>2</c:v>
                </c:pt>
                <c:pt idx="7">
                  <c:v>5.2</c:v>
                </c:pt>
                <c:pt idx="8">
                  <c:v>3.3</c:v>
                </c:pt>
                <c:pt idx="9">
                  <c:v>2.2999999999999998</c:v>
                </c:pt>
                <c:pt idx="10">
                  <c:v>1.7</c:v>
                </c:pt>
                <c:pt idx="11">
                  <c:v>2.9</c:v>
                </c:pt>
                <c:pt idx="12">
                  <c:v>0.9</c:v>
                </c:pt>
                <c:pt idx="13">
                  <c:v>2.6</c:v>
                </c:pt>
                <c:pt idx="14">
                  <c:v>7.9</c:v>
                </c:pt>
                <c:pt idx="15">
                  <c:v>3.7</c:v>
                </c:pt>
                <c:pt idx="16">
                  <c:v>7.2</c:v>
                </c:pt>
                <c:pt idx="17">
                  <c:v>1.9</c:v>
                </c:pt>
                <c:pt idx="18">
                  <c:v>10.8</c:v>
                </c:pt>
                <c:pt idx="19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3-4C2D-B00B-F5360723FBB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"/>
        <c:axId val="1756677807"/>
        <c:axId val="1376728703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берешек сомасы (млн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4.3873112545408759E-2"/>
                  <c:y val="-5.40359232519697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903-4F6F-BCC1-B20F9DA392FE}"/>
                </c:ext>
              </c:extLst>
            </c:dLbl>
            <c:dLbl>
              <c:idx val="2"/>
              <c:layout>
                <c:manualLayout>
                  <c:x val="-5.2974993702847875E-2"/>
                  <c:y val="-7.20478976692930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903-4F6F-BCC1-B20F9DA392FE}"/>
                </c:ext>
              </c:extLst>
            </c:dLbl>
            <c:dLbl>
              <c:idx val="3"/>
              <c:layout>
                <c:manualLayout>
                  <c:x val="-5.2974993702847861E-2"/>
                  <c:y val="-4.50299360433081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903-4F6F-BCC1-B20F9DA392FE}"/>
                </c:ext>
              </c:extLst>
            </c:dLbl>
            <c:dLbl>
              <c:idx val="4"/>
              <c:layout>
                <c:manualLayout>
                  <c:x val="-5.7065726807314872E-2"/>
                  <c:y val="-4.05269424389773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903-4F6F-BCC1-B20F9DA392FE}"/>
                </c:ext>
              </c:extLst>
            </c:dLbl>
            <c:dLbl>
              <c:idx val="5"/>
              <c:layout>
                <c:manualLayout>
                  <c:x val="-5.2974993702847861E-2"/>
                  <c:y val="-3.6023948834646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903-4F6F-BCC1-B20F9DA392FE}"/>
                </c:ext>
              </c:extLst>
            </c:dLbl>
            <c:dLbl>
              <c:idx val="6"/>
              <c:layout>
                <c:manualLayout>
                  <c:x val="-5.7065726807314913E-2"/>
                  <c:y val="-4.9532929647638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03-4F6F-BCC1-B20F9DA392FE}"/>
                </c:ext>
              </c:extLst>
            </c:dLbl>
            <c:dLbl>
              <c:idx val="7"/>
              <c:layout>
                <c:manualLayout>
                  <c:x val="-5.5020360255081439E-2"/>
                  <c:y val="-2.25149680216541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903-4F6F-BCC1-B20F9DA392FE}"/>
                </c:ext>
              </c:extLst>
            </c:dLbl>
            <c:dLbl>
              <c:idx val="8"/>
              <c:layout>
                <c:manualLayout>
                  <c:x val="-4.6838894046147335E-2"/>
                  <c:y val="-3.60239488346466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03-4F6F-BCC1-B20F9DA392FE}"/>
                </c:ext>
              </c:extLst>
            </c:dLbl>
            <c:dLbl>
              <c:idx val="9"/>
              <c:layout>
                <c:manualLayout>
                  <c:x val="-4.8884260598380844E-2"/>
                  <c:y val="-3.6023948834646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903-4F6F-BCC1-B20F9DA392FE}"/>
                </c:ext>
              </c:extLst>
            </c:dLbl>
            <c:dLbl>
              <c:idx val="10"/>
              <c:layout>
                <c:manualLayout>
                  <c:x val="-5.7065726807314948E-2"/>
                  <c:y val="-2.70179616259848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03-4F6F-BCC1-B20F9DA392FE}"/>
                </c:ext>
              </c:extLst>
            </c:dLbl>
            <c:dLbl>
              <c:idx val="11"/>
              <c:layout>
                <c:manualLayout>
                  <c:x val="-5.2974993702847931E-2"/>
                  <c:y val="-3.15209552303157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903-4F6F-BCC1-B20F9DA392FE}"/>
                </c:ext>
              </c:extLst>
            </c:dLbl>
            <c:dLbl>
              <c:idx val="12"/>
              <c:layout>
                <c:manualLayout>
                  <c:x val="-5.2974993702847931E-2"/>
                  <c:y val="-1.35089808129924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903-4F6F-BCC1-B20F9DA392FE}"/>
                </c:ext>
              </c:extLst>
            </c:dLbl>
            <c:dLbl>
              <c:idx val="13"/>
              <c:layout>
                <c:manualLayout>
                  <c:x val="-5.2974993702847931E-2"/>
                  <c:y val="-3.6023948834646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903-4F6F-BCC1-B20F9DA392FE}"/>
                </c:ext>
              </c:extLst>
            </c:dLbl>
            <c:dLbl>
              <c:idx val="14"/>
              <c:layout>
                <c:manualLayout>
                  <c:x val="-5.2974993702847861E-2"/>
                  <c:y val="-4.05269424389773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903-4F6F-BCC1-B20F9DA392FE}"/>
                </c:ext>
              </c:extLst>
            </c:dLbl>
            <c:dLbl>
              <c:idx val="15"/>
              <c:layout>
                <c:manualLayout>
                  <c:x val="-5.2974993702847861E-2"/>
                  <c:y val="-3.60239488346465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903-4F6F-BCC1-B20F9DA392FE}"/>
                </c:ext>
              </c:extLst>
            </c:dLbl>
            <c:dLbl>
              <c:idx val="16"/>
              <c:layout>
                <c:manualLayout>
                  <c:x val="-6.2076874860286971E-2"/>
                  <c:y val="-3.60239488346465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903-4F6F-BCC1-B20F9DA392FE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БҚО</c:v>
                </c:pt>
                <c:pt idx="2">
                  <c:v>Қызылорда</c:v>
                </c:pt>
                <c:pt idx="3">
                  <c:v>Қостанай</c:v>
                </c:pt>
                <c:pt idx="4">
                  <c:v>Атырау</c:v>
                </c:pt>
                <c:pt idx="5">
                  <c:v>Павлодар</c:v>
                </c:pt>
                <c:pt idx="6">
                  <c:v>ШҚО</c:v>
                </c:pt>
                <c:pt idx="7">
                  <c:v>Шымкент қ.</c:v>
                </c:pt>
                <c:pt idx="8">
                  <c:v>Жамбыл </c:v>
                </c:pt>
                <c:pt idx="9">
                  <c:v>Ақтөбе </c:v>
                </c:pt>
                <c:pt idx="10">
                  <c:v>Жетісу</c:v>
                </c:pt>
                <c:pt idx="11">
                  <c:v>Маңғыстау</c:v>
                </c:pt>
                <c:pt idx="12">
                  <c:v>СҚО</c:v>
                </c:pt>
                <c:pt idx="13">
                  <c:v>Қарағанды</c:v>
                </c:pt>
                <c:pt idx="14">
                  <c:v>Алматы қ.</c:v>
                </c:pt>
                <c:pt idx="15">
                  <c:v>Алматы обл.</c:v>
                </c:pt>
                <c:pt idx="16">
                  <c:v>Астана қ.</c:v>
                </c:pt>
                <c:pt idx="17">
                  <c:v>Ақмола</c:v>
                </c:pt>
                <c:pt idx="18">
                  <c:v>Түркістан</c:v>
                </c:pt>
                <c:pt idx="19">
                  <c:v>Абай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6.4</c:v>
                </c:pt>
                <c:pt idx="1">
                  <c:v>8.6</c:v>
                </c:pt>
                <c:pt idx="2">
                  <c:v>11</c:v>
                </c:pt>
                <c:pt idx="3">
                  <c:v>15.8</c:v>
                </c:pt>
                <c:pt idx="4">
                  <c:v>24.9</c:v>
                </c:pt>
                <c:pt idx="5">
                  <c:v>26.9</c:v>
                </c:pt>
                <c:pt idx="6">
                  <c:v>27.8</c:v>
                </c:pt>
                <c:pt idx="7">
                  <c:v>34.200000000000003</c:v>
                </c:pt>
                <c:pt idx="8">
                  <c:v>38.4</c:v>
                </c:pt>
                <c:pt idx="9">
                  <c:v>38.6</c:v>
                </c:pt>
                <c:pt idx="10">
                  <c:v>43.1</c:v>
                </c:pt>
                <c:pt idx="11">
                  <c:v>52.3</c:v>
                </c:pt>
                <c:pt idx="12">
                  <c:v>59.8</c:v>
                </c:pt>
                <c:pt idx="13">
                  <c:v>65.099999999999994</c:v>
                </c:pt>
                <c:pt idx="14">
                  <c:v>83.3</c:v>
                </c:pt>
                <c:pt idx="15">
                  <c:v>89.6</c:v>
                </c:pt>
                <c:pt idx="16">
                  <c:v>102.4</c:v>
                </c:pt>
                <c:pt idx="17">
                  <c:v>121.6</c:v>
                </c:pt>
                <c:pt idx="18">
                  <c:v>122.2</c:v>
                </c:pt>
                <c:pt idx="19">
                  <c:v>21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C3-4C2D-B00B-F5360723FB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94572863"/>
        <c:axId val="2003633567"/>
      </c:lineChart>
      <c:catAx>
        <c:axId val="1756677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76728703"/>
        <c:crosses val="autoZero"/>
        <c:auto val="1"/>
        <c:lblAlgn val="ctr"/>
        <c:lblOffset val="100"/>
        <c:noMultiLvlLbl val="0"/>
      </c:catAx>
      <c:valAx>
        <c:axId val="13767287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6677807"/>
        <c:crosses val="autoZero"/>
        <c:crossBetween val="between"/>
      </c:valAx>
      <c:valAx>
        <c:axId val="200363356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94572863"/>
        <c:crosses val="max"/>
        <c:crossBetween val="between"/>
      </c:valAx>
      <c:catAx>
        <c:axId val="1594572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036335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6.5832505518243656E-2"/>
          <c:w val="0.93888888888888888"/>
          <c:h val="0.59567814549313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гізгі берешек (млн. теңге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1.01.2022 ж.</c:v>
                </c:pt>
                <c:pt idx="1">
                  <c:v>1.01.2023 ж.</c:v>
                </c:pt>
                <c:pt idx="2">
                  <c:v>1.01.2024 ж.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99.5</c:v>
                </c:pt>
                <c:pt idx="1">
                  <c:v>875</c:v>
                </c:pt>
                <c:pt idx="2">
                  <c:v>7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B-4D6A-ABFF-BAE94781F29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өсімпұл (млн. теңге)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1.01.2022 ж.</c:v>
                </c:pt>
                <c:pt idx="1">
                  <c:v>1.01.2023 ж.</c:v>
                </c:pt>
                <c:pt idx="2">
                  <c:v>1.01.2024 ж.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80.8</c:v>
                </c:pt>
                <c:pt idx="1">
                  <c:v>404.4</c:v>
                </c:pt>
                <c:pt idx="2">
                  <c:v>43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41054127"/>
        <c:axId val="1152801679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ушілер саны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1.01.2022 ж.</c:v>
                </c:pt>
                <c:pt idx="1">
                  <c:v>1.01.2023 ж.</c:v>
                </c:pt>
                <c:pt idx="2">
                  <c:v>1.01.2024 ж.</c:v>
                </c:pt>
              </c:strCache>
            </c:strRef>
          </c:cat>
          <c:val>
            <c:numRef>
              <c:f>Лист1!$D$2:$D$4</c:f>
              <c:numCache>
                <c:formatCode>#,##0</c:formatCode>
                <c:ptCount val="3"/>
                <c:pt idx="0">
                  <c:v>54073</c:v>
                </c:pt>
                <c:pt idx="1">
                  <c:v>56181</c:v>
                </c:pt>
                <c:pt idx="2">
                  <c:v>61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1066127"/>
        <c:axId val="1167932447"/>
      </c:lineChart>
      <c:catAx>
        <c:axId val="1241054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52801679"/>
        <c:crosses val="autoZero"/>
        <c:auto val="1"/>
        <c:lblAlgn val="ctr"/>
        <c:lblOffset val="100"/>
        <c:noMultiLvlLbl val="0"/>
      </c:catAx>
      <c:valAx>
        <c:axId val="11528016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54127"/>
        <c:crosses val="autoZero"/>
        <c:crossBetween val="between"/>
      </c:valAx>
      <c:valAx>
        <c:axId val="1167932447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66127"/>
        <c:crosses val="max"/>
        <c:crossBetween val="between"/>
      </c:valAx>
      <c:catAx>
        <c:axId val="12410661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7932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631889763779529E-2"/>
          <c:y val="0.80228241343755957"/>
          <c:w val="0.94473622047244099"/>
          <c:h val="0.16180894718885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645289923938091E-3"/>
          <c:y val="0.1214462193283969"/>
          <c:w val="0.48253078291901996"/>
          <c:h val="0.738933007040032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4CD-4F33-BB7B-FF878F2E811F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4CD-4F33-BB7B-FF878F2E811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4CD-4F33-BB7B-FF878F2E811F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4CD-4F33-BB7B-FF878F2E811F}"/>
              </c:ext>
            </c:extLst>
          </c:dPt>
          <c:dPt>
            <c:idx val="4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34CD-4F33-BB7B-FF878F2E811F}"/>
              </c:ext>
            </c:extLst>
          </c:dPt>
          <c:dLbls>
            <c:dLbl>
              <c:idx val="0"/>
              <c:layout>
                <c:manualLayout>
                  <c:x val="-7.199422685664368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,3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CD-4F33-BB7B-FF878F2E811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C3A1E50-29A6-4983-B5FC-972E78300C68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4CD-4F33-BB7B-FF878F2E811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/>
                      <a:t>8,1%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CD-4F33-BB7B-FF878F2E811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0D47D43-3247-47E6-BC79-E47C5C0680B5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4CD-4F33-BB7B-FF878F2E811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3CDFFBB-85F0-4006-A59F-8369EF04CE40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4CD-4F33-BB7B-FF878F2E81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Айдың 25-ші күнінен кейін әлеуметтік аударымдардың төлеу мерзімі өткен</c:v>
                </c:pt>
                <c:pt idx="1">
                  <c:v>қаржылық қиындықтар мен уақтылы қаржыландырудың болмауы</c:v>
                </c:pt>
                <c:pt idx="2">
                  <c:v>кезекті еңбек демалыстарында (білім беру саласында)</c:v>
                </c:pt>
                <c:pt idx="3">
                  <c:v>жұмыскерлерді шарттық негізде тарту және жұмыс көлемін азайту</c:v>
                </c:pt>
                <c:pt idx="4">
                  <c:v>басқа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54300000000000004</c:v>
                </c:pt>
                <c:pt idx="1">
                  <c:v>0.19400000000000001</c:v>
                </c:pt>
                <c:pt idx="2">
                  <c:v>8.4000000000000005E-2</c:v>
                </c:pt>
                <c:pt idx="3">
                  <c:v>9.8000000000000004E-2</c:v>
                </c:pt>
                <c:pt idx="4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4CD-4F33-BB7B-FF878F2E811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46222782443253"/>
          <c:y val="7.5142948594840275E-2"/>
          <c:w val="0.45944709094315395"/>
          <c:h val="0.8497141028103194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693383487109366E-2"/>
          <c:y val="4.1180030426648105E-2"/>
          <c:w val="0.91727504957935235"/>
          <c:h val="0.75121654222343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қайтаруға өтінімдер саны (мың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8</c:f>
              <c:numCache>
                <c:formatCode>0.0</c:formatCode>
                <c:ptCount val="3"/>
                <c:pt idx="0">
                  <c:v>45.4</c:v>
                </c:pt>
                <c:pt idx="1">
                  <c:v>60.3</c:v>
                </c:pt>
                <c:pt idx="2">
                  <c:v>7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92-42A9-9CFA-42E65F4F71C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қатысушы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8</c:f>
              <c:numCache>
                <c:formatCode>0.0</c:formatCode>
                <c:ptCount val="3"/>
                <c:pt idx="0">
                  <c:v>75.8</c:v>
                </c:pt>
                <c:pt idx="1">
                  <c:v>87.231999999999999</c:v>
                </c:pt>
                <c:pt idx="2">
                  <c:v>1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992-42A9-9CFA-42E65F4F71C1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әлеуметтік аударымдарды қайтару сомасы (млн. 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8</c:f>
              <c:numCache>
                <c:formatCode>General</c:formatCode>
                <c:ptCount val="3"/>
                <c:pt idx="0">
                  <c:v>410.6</c:v>
                </c:pt>
                <c:pt idx="1">
                  <c:v>576.79999999999995</c:v>
                </c:pt>
                <c:pt idx="2">
                  <c:v>859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F-4AE2-8FEE-1F53B51B6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666959"/>
        <c:axId val="1036914959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3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04608"/>
        <c:crosses val="autoZero"/>
        <c:crossBetween val="between"/>
      </c:valAx>
      <c:valAx>
        <c:axId val="103691495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4666959"/>
        <c:crosses val="max"/>
        <c:crossBetween val="between"/>
      </c:valAx>
      <c:catAx>
        <c:axId val="10446669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36914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710932860087208E-2"/>
          <c:y val="0.86657692612241666"/>
          <c:w val="0.97963945580426737"/>
          <c:h val="0.13342324524258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F91C36-09DE-4D4F-AC86-7467A30E8F8D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44874697-1C83-4754-87AB-852F10FD0DA7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b="1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лғыз</a:t>
          </a:r>
          <a:r>
            <a:rPr lang="ru-RU" sz="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акционер</a:t>
          </a:r>
          <a:endParaRPr lang="ru-KZ" sz="800" b="1" dirty="0"/>
        </a:p>
      </dgm:t>
    </dgm:pt>
    <dgm:pt modelId="{60422AAF-72D5-498A-A2E9-65F61C847FDF}" type="parTrans" cxnId="{5D96AE18-3571-4C45-8CE8-1ABF72C08FB2}">
      <dgm:prSet/>
      <dgm:spPr/>
      <dgm:t>
        <a:bodyPr/>
        <a:lstStyle/>
        <a:p>
          <a:endParaRPr lang="ru-KZ"/>
        </a:p>
      </dgm:t>
    </dgm:pt>
    <dgm:pt modelId="{1AA00A6D-8794-4C63-ADD9-C6DC4BCFEE38}" type="sibTrans" cxnId="{5D96AE18-3571-4C45-8CE8-1ABF72C08FB2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AF5C639-7AA7-4AF3-8A01-12E166F12AA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Директорлар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кеңесі</a:t>
          </a:r>
          <a:endParaRPr lang="ru-KZ" sz="800" dirty="0"/>
        </a:p>
      </dgm:t>
    </dgm:pt>
    <dgm:pt modelId="{730C1E40-F129-4358-B2A4-DC1FFA780148}" type="parTrans" cxnId="{4E7C22E2-FB0B-40A6-AF5C-B87925463355}">
      <dgm:prSet/>
      <dgm:spPr/>
      <dgm:t>
        <a:bodyPr/>
        <a:lstStyle/>
        <a:p>
          <a:endParaRPr lang="ru-KZ"/>
        </a:p>
      </dgm:t>
    </dgm:pt>
    <dgm:pt modelId="{C2DD9EE9-86DC-4442-810C-2EB980161A00}" type="sibTrans" cxnId="{4E7C22E2-FB0B-40A6-AF5C-B87925463355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4EFB69C8-2AA1-41B7-9D7B-BA707AA11463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тқарушы</a:t>
          </a:r>
          <a:endParaRPr lang="ru-RU" sz="800" dirty="0"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</a:t>
          </a:r>
          <a:endParaRPr lang="ru-KZ" sz="800" dirty="0"/>
        </a:p>
      </dgm:t>
    </dgm:pt>
    <dgm:pt modelId="{E1B22F5D-964D-40A9-8A4A-95D54369D0B4}" type="parTrans" cxnId="{67E063FD-6AE2-4CE2-91BD-B09841D5688C}">
      <dgm:prSet/>
      <dgm:spPr/>
      <dgm:t>
        <a:bodyPr/>
        <a:lstStyle/>
        <a:p>
          <a:endParaRPr lang="ru-KZ"/>
        </a:p>
      </dgm:t>
    </dgm:pt>
    <dgm:pt modelId="{70BC9043-73D1-45B1-B576-0DEE622C0A04}" type="sibTrans" cxnId="{67E063FD-6AE2-4CE2-91BD-B09841D5688C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0A52437E-8201-4654-AB51-D51A0161BFC1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мүдделі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</a:p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тараптар</a:t>
          </a:r>
          <a:endParaRPr lang="ru-KZ" sz="800" dirty="0"/>
        </a:p>
      </dgm:t>
    </dgm:pt>
    <dgm:pt modelId="{FBC68A9F-871C-4370-9D63-AEBC3E944E44}" type="parTrans" cxnId="{AF403422-8BA7-4900-9795-458835E4263F}">
      <dgm:prSet/>
      <dgm:spPr/>
      <dgm:t>
        <a:bodyPr/>
        <a:lstStyle/>
        <a:p>
          <a:endParaRPr lang="ru-KZ"/>
        </a:p>
      </dgm:t>
    </dgm:pt>
    <dgm:pt modelId="{8B190474-9CD2-4587-8E62-8427E89CCE3E}" type="sibTrans" cxnId="{AF403422-8BA7-4900-9795-458835E4263F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A6AC01A8-F8BC-4A61-8DC8-15BA3AB2160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рғыға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әйкес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йқындалатын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өзге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де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дар</a:t>
          </a:r>
          <a:endParaRPr lang="ru-KZ" sz="800" dirty="0"/>
        </a:p>
      </dgm:t>
    </dgm:pt>
    <dgm:pt modelId="{683F5B47-6D87-4184-9E31-CC324E5AF7DB}" type="parTrans" cxnId="{74F20EAC-6998-4FDA-BBA2-B1F73A2C1EC9}">
      <dgm:prSet/>
      <dgm:spPr/>
      <dgm:t>
        <a:bodyPr/>
        <a:lstStyle/>
        <a:p>
          <a:endParaRPr lang="ru-KZ"/>
        </a:p>
      </dgm:t>
    </dgm:pt>
    <dgm:pt modelId="{93CC51C4-909B-4C01-9F39-E304C3C1C9FE}" type="sibTrans" cxnId="{74F20EAC-6998-4FDA-BBA2-B1F73A2C1EC9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42D7F69-64D3-4491-BD2A-3812F6757FF6}" type="pres">
      <dgm:prSet presAssocID="{5AF91C36-09DE-4D4F-AC86-7467A30E8F8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ACA683-2825-43CF-83A9-B4DD68B4F5E9}" type="pres">
      <dgm:prSet presAssocID="{44874697-1C83-4754-87AB-852F10FD0DA7}" presName="node" presStyleLbl="node1" presStyleIdx="0" presStyleCnt="5" custScaleX="1180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E9F934-F8F3-415C-AE88-D590E7DDBC43}" type="pres">
      <dgm:prSet presAssocID="{44874697-1C83-4754-87AB-852F10FD0DA7}" presName="spNode" presStyleCnt="0"/>
      <dgm:spPr/>
    </dgm:pt>
    <dgm:pt modelId="{E6E9D93D-02DA-4A02-A307-73D0BA0BF541}" type="pres">
      <dgm:prSet presAssocID="{1AA00A6D-8794-4C63-ADD9-C6DC4BCFEE38}" presName="sibTrans" presStyleLbl="sibTrans1D1" presStyleIdx="0" presStyleCnt="5"/>
      <dgm:spPr/>
      <dgm:t>
        <a:bodyPr/>
        <a:lstStyle/>
        <a:p>
          <a:endParaRPr lang="ru-RU"/>
        </a:p>
      </dgm:t>
    </dgm:pt>
    <dgm:pt modelId="{91C25522-0ACC-4B61-A161-BAB399E8849C}" type="pres">
      <dgm:prSet presAssocID="{1AF5C639-7AA7-4AF3-8A01-12E166F12AA0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AFBFB-D0DD-4FA7-A030-2652800BF6E2}" type="pres">
      <dgm:prSet presAssocID="{1AF5C639-7AA7-4AF3-8A01-12E166F12AA0}" presName="spNode" presStyleCnt="0"/>
      <dgm:spPr/>
    </dgm:pt>
    <dgm:pt modelId="{C4CD14AA-DB7A-45E7-A53A-589E6B9CDAE1}" type="pres">
      <dgm:prSet presAssocID="{C2DD9EE9-86DC-4442-810C-2EB980161A00}" presName="sibTrans" presStyleLbl="sibTrans1D1" presStyleIdx="1" presStyleCnt="5"/>
      <dgm:spPr/>
      <dgm:t>
        <a:bodyPr/>
        <a:lstStyle/>
        <a:p>
          <a:endParaRPr lang="ru-RU"/>
        </a:p>
      </dgm:t>
    </dgm:pt>
    <dgm:pt modelId="{EC3EBD17-CBE7-4791-BECA-AA47692B93B9}" type="pres">
      <dgm:prSet presAssocID="{4EFB69C8-2AA1-41B7-9D7B-BA707AA11463}" presName="node" presStyleLbl="node1" presStyleIdx="2" presStyleCnt="5" custScaleX="1346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3C2ECD-02A8-4059-BA37-588271C1B8BD}" type="pres">
      <dgm:prSet presAssocID="{4EFB69C8-2AA1-41B7-9D7B-BA707AA11463}" presName="spNode" presStyleCnt="0"/>
      <dgm:spPr/>
    </dgm:pt>
    <dgm:pt modelId="{09650EC4-AE17-4140-AEA6-DC312E488824}" type="pres">
      <dgm:prSet presAssocID="{70BC9043-73D1-45B1-B576-0DEE622C0A04}" presName="sibTrans" presStyleLbl="sibTrans1D1" presStyleIdx="2" presStyleCnt="5"/>
      <dgm:spPr/>
      <dgm:t>
        <a:bodyPr/>
        <a:lstStyle/>
        <a:p>
          <a:endParaRPr lang="ru-RU"/>
        </a:p>
      </dgm:t>
    </dgm:pt>
    <dgm:pt modelId="{D4AAF7A1-2AA8-4153-9E8F-057D1E501BBE}" type="pres">
      <dgm:prSet presAssocID="{0A52437E-8201-4654-AB51-D51A0161BFC1}" presName="node" presStyleLbl="node1" presStyleIdx="3" presStyleCnt="5" custScaleX="1309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BB4B1-B2C1-46A9-81ED-CD05A2D38EE8}" type="pres">
      <dgm:prSet presAssocID="{0A52437E-8201-4654-AB51-D51A0161BFC1}" presName="spNode" presStyleCnt="0"/>
      <dgm:spPr/>
    </dgm:pt>
    <dgm:pt modelId="{142C839A-66CE-4F80-B7B8-67981B76B578}" type="pres">
      <dgm:prSet presAssocID="{8B190474-9CD2-4587-8E62-8427E89CCE3E}" presName="sibTrans" presStyleLbl="sibTrans1D1" presStyleIdx="3" presStyleCnt="5"/>
      <dgm:spPr/>
      <dgm:t>
        <a:bodyPr/>
        <a:lstStyle/>
        <a:p>
          <a:endParaRPr lang="ru-RU"/>
        </a:p>
      </dgm:t>
    </dgm:pt>
    <dgm:pt modelId="{62F08D00-AA2C-4727-816C-C93CCB87222D}" type="pres">
      <dgm:prSet presAssocID="{A6AC01A8-F8BC-4A61-8DC8-15BA3AB21600}" presName="node" presStyleLbl="node1" presStyleIdx="4" presStyleCnt="5" custScaleX="126423" custScaleY="1146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569E1C-8539-449A-8D07-099B331A86DE}" type="pres">
      <dgm:prSet presAssocID="{A6AC01A8-F8BC-4A61-8DC8-15BA3AB21600}" presName="spNode" presStyleCnt="0"/>
      <dgm:spPr/>
    </dgm:pt>
    <dgm:pt modelId="{877ECB67-FCD8-4955-9108-B691B1F88D59}" type="pres">
      <dgm:prSet presAssocID="{93CC51C4-909B-4C01-9F39-E304C3C1C9FE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77C680CA-7E2F-484A-8644-F96B5500CA82}" type="presOf" srcId="{70BC9043-73D1-45B1-B576-0DEE622C0A04}" destId="{09650EC4-AE17-4140-AEA6-DC312E488824}" srcOrd="0" destOrd="0" presId="urn:microsoft.com/office/officeart/2005/8/layout/cycle6"/>
    <dgm:cxn modelId="{E4F95CC4-AB95-46A5-8250-29329D0B9BC5}" type="presOf" srcId="{A6AC01A8-F8BC-4A61-8DC8-15BA3AB21600}" destId="{62F08D00-AA2C-4727-816C-C93CCB87222D}" srcOrd="0" destOrd="0" presId="urn:microsoft.com/office/officeart/2005/8/layout/cycle6"/>
    <dgm:cxn modelId="{5D96AE18-3571-4C45-8CE8-1ABF72C08FB2}" srcId="{5AF91C36-09DE-4D4F-AC86-7467A30E8F8D}" destId="{44874697-1C83-4754-87AB-852F10FD0DA7}" srcOrd="0" destOrd="0" parTransId="{60422AAF-72D5-498A-A2E9-65F61C847FDF}" sibTransId="{1AA00A6D-8794-4C63-ADD9-C6DC4BCFEE38}"/>
    <dgm:cxn modelId="{4D8AFE3D-B52E-44BE-A849-B7C49FD69E08}" type="presOf" srcId="{44874697-1C83-4754-87AB-852F10FD0DA7}" destId="{72ACA683-2825-43CF-83A9-B4DD68B4F5E9}" srcOrd="0" destOrd="0" presId="urn:microsoft.com/office/officeart/2005/8/layout/cycle6"/>
    <dgm:cxn modelId="{8F94E298-06B2-49EC-A98A-A53D9C2D470E}" type="presOf" srcId="{0A52437E-8201-4654-AB51-D51A0161BFC1}" destId="{D4AAF7A1-2AA8-4153-9E8F-057D1E501BBE}" srcOrd="0" destOrd="0" presId="urn:microsoft.com/office/officeart/2005/8/layout/cycle6"/>
    <dgm:cxn modelId="{C26CAF3B-8011-4D99-B3E5-4610BC067EA4}" type="presOf" srcId="{4EFB69C8-2AA1-41B7-9D7B-BA707AA11463}" destId="{EC3EBD17-CBE7-4791-BECA-AA47692B93B9}" srcOrd="0" destOrd="0" presId="urn:microsoft.com/office/officeart/2005/8/layout/cycle6"/>
    <dgm:cxn modelId="{74F20EAC-6998-4FDA-BBA2-B1F73A2C1EC9}" srcId="{5AF91C36-09DE-4D4F-AC86-7467A30E8F8D}" destId="{A6AC01A8-F8BC-4A61-8DC8-15BA3AB21600}" srcOrd="4" destOrd="0" parTransId="{683F5B47-6D87-4184-9E31-CC324E5AF7DB}" sibTransId="{93CC51C4-909B-4C01-9F39-E304C3C1C9FE}"/>
    <dgm:cxn modelId="{27F60D69-8AFE-4F43-B9CF-95067DDCAE1F}" type="presOf" srcId="{93CC51C4-909B-4C01-9F39-E304C3C1C9FE}" destId="{877ECB67-FCD8-4955-9108-B691B1F88D59}" srcOrd="0" destOrd="0" presId="urn:microsoft.com/office/officeart/2005/8/layout/cycle6"/>
    <dgm:cxn modelId="{0CBA6050-6E21-43A6-B800-21ECCC63EE6C}" type="presOf" srcId="{5AF91C36-09DE-4D4F-AC86-7467A30E8F8D}" destId="{142D7F69-64D3-4491-BD2A-3812F6757FF6}" srcOrd="0" destOrd="0" presId="urn:microsoft.com/office/officeart/2005/8/layout/cycle6"/>
    <dgm:cxn modelId="{11C7D228-F3F8-44CE-B3E1-FA63C0102892}" type="presOf" srcId="{1AA00A6D-8794-4C63-ADD9-C6DC4BCFEE38}" destId="{E6E9D93D-02DA-4A02-A307-73D0BA0BF541}" srcOrd="0" destOrd="0" presId="urn:microsoft.com/office/officeart/2005/8/layout/cycle6"/>
    <dgm:cxn modelId="{E6F28021-F445-4817-B15E-0BD58FAF29F0}" type="presOf" srcId="{1AF5C639-7AA7-4AF3-8A01-12E166F12AA0}" destId="{91C25522-0ACC-4B61-A161-BAB399E8849C}" srcOrd="0" destOrd="0" presId="urn:microsoft.com/office/officeart/2005/8/layout/cycle6"/>
    <dgm:cxn modelId="{4E7C22E2-FB0B-40A6-AF5C-B87925463355}" srcId="{5AF91C36-09DE-4D4F-AC86-7467A30E8F8D}" destId="{1AF5C639-7AA7-4AF3-8A01-12E166F12AA0}" srcOrd="1" destOrd="0" parTransId="{730C1E40-F129-4358-B2A4-DC1FFA780148}" sibTransId="{C2DD9EE9-86DC-4442-810C-2EB980161A00}"/>
    <dgm:cxn modelId="{AF403422-8BA7-4900-9795-458835E4263F}" srcId="{5AF91C36-09DE-4D4F-AC86-7467A30E8F8D}" destId="{0A52437E-8201-4654-AB51-D51A0161BFC1}" srcOrd="3" destOrd="0" parTransId="{FBC68A9F-871C-4370-9D63-AEBC3E944E44}" sibTransId="{8B190474-9CD2-4587-8E62-8427E89CCE3E}"/>
    <dgm:cxn modelId="{AA91B6BE-9425-4837-855D-BB048C468CEC}" type="presOf" srcId="{C2DD9EE9-86DC-4442-810C-2EB980161A00}" destId="{C4CD14AA-DB7A-45E7-A53A-589E6B9CDAE1}" srcOrd="0" destOrd="0" presId="urn:microsoft.com/office/officeart/2005/8/layout/cycle6"/>
    <dgm:cxn modelId="{6109DC0D-184C-4A65-98F6-CA099AAC839F}" type="presOf" srcId="{8B190474-9CD2-4587-8E62-8427E89CCE3E}" destId="{142C839A-66CE-4F80-B7B8-67981B76B578}" srcOrd="0" destOrd="0" presId="urn:microsoft.com/office/officeart/2005/8/layout/cycle6"/>
    <dgm:cxn modelId="{67E063FD-6AE2-4CE2-91BD-B09841D5688C}" srcId="{5AF91C36-09DE-4D4F-AC86-7467A30E8F8D}" destId="{4EFB69C8-2AA1-41B7-9D7B-BA707AA11463}" srcOrd="2" destOrd="0" parTransId="{E1B22F5D-964D-40A9-8A4A-95D54369D0B4}" sibTransId="{70BC9043-73D1-45B1-B576-0DEE622C0A04}"/>
    <dgm:cxn modelId="{F869D2D5-EE13-4956-9EE0-39EA3B292AB9}" type="presParOf" srcId="{142D7F69-64D3-4491-BD2A-3812F6757FF6}" destId="{72ACA683-2825-43CF-83A9-B4DD68B4F5E9}" srcOrd="0" destOrd="0" presId="urn:microsoft.com/office/officeart/2005/8/layout/cycle6"/>
    <dgm:cxn modelId="{067CDE3B-1420-434E-B0BD-38D19ABCE73B}" type="presParOf" srcId="{142D7F69-64D3-4491-BD2A-3812F6757FF6}" destId="{14E9F934-F8F3-415C-AE88-D590E7DDBC43}" srcOrd="1" destOrd="0" presId="urn:microsoft.com/office/officeart/2005/8/layout/cycle6"/>
    <dgm:cxn modelId="{8A6BE0C5-2484-45E9-967E-FEA0B570FE37}" type="presParOf" srcId="{142D7F69-64D3-4491-BD2A-3812F6757FF6}" destId="{E6E9D93D-02DA-4A02-A307-73D0BA0BF541}" srcOrd="2" destOrd="0" presId="urn:microsoft.com/office/officeart/2005/8/layout/cycle6"/>
    <dgm:cxn modelId="{9FC8A89F-8726-4E2F-9BEE-2CDF9EF2FB91}" type="presParOf" srcId="{142D7F69-64D3-4491-BD2A-3812F6757FF6}" destId="{91C25522-0ACC-4B61-A161-BAB399E8849C}" srcOrd="3" destOrd="0" presId="urn:microsoft.com/office/officeart/2005/8/layout/cycle6"/>
    <dgm:cxn modelId="{CBCFFCB7-4322-4A76-BD8B-A9C76E850E7E}" type="presParOf" srcId="{142D7F69-64D3-4491-BD2A-3812F6757FF6}" destId="{653AFBFB-D0DD-4FA7-A030-2652800BF6E2}" srcOrd="4" destOrd="0" presId="urn:microsoft.com/office/officeart/2005/8/layout/cycle6"/>
    <dgm:cxn modelId="{BF86527B-CFC0-47E7-AFBA-761BBF50293F}" type="presParOf" srcId="{142D7F69-64D3-4491-BD2A-3812F6757FF6}" destId="{C4CD14AA-DB7A-45E7-A53A-589E6B9CDAE1}" srcOrd="5" destOrd="0" presId="urn:microsoft.com/office/officeart/2005/8/layout/cycle6"/>
    <dgm:cxn modelId="{F615CE3F-B05E-4A50-B4B4-06E5001B7104}" type="presParOf" srcId="{142D7F69-64D3-4491-BD2A-3812F6757FF6}" destId="{EC3EBD17-CBE7-4791-BECA-AA47692B93B9}" srcOrd="6" destOrd="0" presId="urn:microsoft.com/office/officeart/2005/8/layout/cycle6"/>
    <dgm:cxn modelId="{0EC977D8-DD71-4C60-8285-6DE74D9D6690}" type="presParOf" srcId="{142D7F69-64D3-4491-BD2A-3812F6757FF6}" destId="{953C2ECD-02A8-4059-BA37-588271C1B8BD}" srcOrd="7" destOrd="0" presId="urn:microsoft.com/office/officeart/2005/8/layout/cycle6"/>
    <dgm:cxn modelId="{EA0B5413-6F2B-484F-9357-5D0FB230D809}" type="presParOf" srcId="{142D7F69-64D3-4491-BD2A-3812F6757FF6}" destId="{09650EC4-AE17-4140-AEA6-DC312E488824}" srcOrd="8" destOrd="0" presId="urn:microsoft.com/office/officeart/2005/8/layout/cycle6"/>
    <dgm:cxn modelId="{8DA5C45F-6B30-4F90-88FD-F74D1D28F68E}" type="presParOf" srcId="{142D7F69-64D3-4491-BD2A-3812F6757FF6}" destId="{D4AAF7A1-2AA8-4153-9E8F-057D1E501BBE}" srcOrd="9" destOrd="0" presId="urn:microsoft.com/office/officeart/2005/8/layout/cycle6"/>
    <dgm:cxn modelId="{3061BA1E-2674-4CD4-A7A6-243979E2F6CE}" type="presParOf" srcId="{142D7F69-64D3-4491-BD2A-3812F6757FF6}" destId="{182BB4B1-B2C1-46A9-81ED-CD05A2D38EE8}" srcOrd="10" destOrd="0" presId="urn:microsoft.com/office/officeart/2005/8/layout/cycle6"/>
    <dgm:cxn modelId="{66853178-D7AA-4C17-888C-1B9D5CD8BAD8}" type="presParOf" srcId="{142D7F69-64D3-4491-BD2A-3812F6757FF6}" destId="{142C839A-66CE-4F80-B7B8-67981B76B578}" srcOrd="11" destOrd="0" presId="urn:microsoft.com/office/officeart/2005/8/layout/cycle6"/>
    <dgm:cxn modelId="{C6208A7A-B9BD-4DDF-84C1-81FA28B3D76A}" type="presParOf" srcId="{142D7F69-64D3-4491-BD2A-3812F6757FF6}" destId="{62F08D00-AA2C-4727-816C-C93CCB87222D}" srcOrd="12" destOrd="0" presId="urn:microsoft.com/office/officeart/2005/8/layout/cycle6"/>
    <dgm:cxn modelId="{E8115330-2777-45D7-A4B4-45B4FA14CCC4}" type="presParOf" srcId="{142D7F69-64D3-4491-BD2A-3812F6757FF6}" destId="{7C569E1C-8539-449A-8D07-099B331A86DE}" srcOrd="13" destOrd="0" presId="urn:microsoft.com/office/officeart/2005/8/layout/cycle6"/>
    <dgm:cxn modelId="{11AEF238-746A-4CBB-A589-5A77C4B652E8}" type="presParOf" srcId="{142D7F69-64D3-4491-BD2A-3812F6757FF6}" destId="{877ECB67-FCD8-4955-9108-B691B1F88D59}" srcOrd="14" destOrd="0" presId="urn:microsoft.com/office/officeart/2005/8/layout/cycle6"/>
  </dgm:cxnLst>
  <dgm:bg/>
  <dgm:whole>
    <a:ln w="190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1A32C1-D611-4A7E-A297-B191DF05F16F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AA4C1823-A2AC-482C-AAE0-AC34390790F3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тәуекелдерді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анықтау</a:t>
          </a:r>
          <a:endParaRPr lang="ru-KZ" sz="800" dirty="0"/>
        </a:p>
      </dgm:t>
    </dgm:pt>
    <dgm:pt modelId="{CF5495DF-CF76-4A05-A670-E4B22C5F0F15}" type="parTrans" cxnId="{0F2F92FC-9B90-44A7-9C0A-46FFBCAF7CD4}">
      <dgm:prSet/>
      <dgm:spPr/>
      <dgm:t>
        <a:bodyPr/>
        <a:lstStyle/>
        <a:p>
          <a:endParaRPr lang="ru-KZ"/>
        </a:p>
      </dgm:t>
    </dgm:pt>
    <dgm:pt modelId="{87C76BD6-A1C5-4E96-9B5D-DD61106C6D49}" type="sibTrans" cxnId="{0F2F92FC-9B90-44A7-9C0A-46FFBCAF7CD4}">
      <dgm:prSet/>
      <dgm:spPr/>
      <dgm:t>
        <a:bodyPr/>
        <a:lstStyle/>
        <a:p>
          <a:endParaRPr lang="ru-KZ"/>
        </a:p>
      </dgm:t>
    </dgm:pt>
    <dgm:pt modelId="{54F0C9B2-2A11-40B0-B9BF-CA3C67A34362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тәуекелдерді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өлшеу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бағалау</a:t>
          </a:r>
          <a:endParaRPr lang="ru-KZ" sz="800" dirty="0"/>
        </a:p>
      </dgm:t>
    </dgm:pt>
    <dgm:pt modelId="{286E4867-CF24-4FA1-89C8-F06B2C434202}" type="sibTrans" cxnId="{B3357A3E-E065-4DC2-959F-94CD33F9FF61}">
      <dgm:prSet/>
      <dgm:spPr/>
      <dgm:t>
        <a:bodyPr/>
        <a:lstStyle/>
        <a:p>
          <a:endParaRPr lang="ru-KZ"/>
        </a:p>
      </dgm:t>
    </dgm:pt>
    <dgm:pt modelId="{48CF6850-6FE8-4DEA-8CD7-F33BF5F8794A}" type="parTrans" cxnId="{B3357A3E-E065-4DC2-959F-94CD33F9FF61}">
      <dgm:prSet/>
      <dgm:spPr/>
      <dgm:t>
        <a:bodyPr/>
        <a:lstStyle/>
        <a:p>
          <a:endParaRPr lang="ru-KZ"/>
        </a:p>
      </dgm:t>
    </dgm:pt>
    <dgm:pt modelId="{7B1EE25F-8576-498F-82F3-BB590447794D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ескіндемені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басқару</a:t>
          </a:r>
          <a:endParaRPr lang="ru-KZ" sz="800" dirty="0"/>
        </a:p>
      </dgm:t>
    </dgm:pt>
    <dgm:pt modelId="{5301B183-09D6-4D19-8A32-E4ECA23FDC3A}" type="sibTrans" cxnId="{5C9DDDEE-49E6-493B-927B-C150816443DC}">
      <dgm:prSet/>
      <dgm:spPr/>
      <dgm:t>
        <a:bodyPr/>
        <a:lstStyle/>
        <a:p>
          <a:endParaRPr lang="ru-KZ"/>
        </a:p>
      </dgm:t>
    </dgm:pt>
    <dgm:pt modelId="{DD3B009A-AB42-4811-9A2A-3E6AC0370AD3}" type="parTrans" cxnId="{5C9DDDEE-49E6-493B-927B-C150816443DC}">
      <dgm:prSet/>
      <dgm:spPr/>
      <dgm:t>
        <a:bodyPr/>
        <a:lstStyle/>
        <a:p>
          <a:endParaRPr lang="ru-KZ"/>
        </a:p>
      </dgm:t>
    </dgm:pt>
    <dgm:pt modelId="{A639398A-252A-4D11-A2C7-A8E7369E65BF}">
      <dgm:prSet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мониторинг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есеп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беру</a:t>
          </a:r>
          <a:endParaRPr lang="ru-KZ" sz="800" dirty="0"/>
        </a:p>
      </dgm:t>
    </dgm:pt>
    <dgm:pt modelId="{074A158E-0D28-4062-AC43-76E54F7AB003}" type="sibTrans" cxnId="{9DCAFF27-52E2-439A-A885-35CFBE832FD2}">
      <dgm:prSet/>
      <dgm:spPr/>
      <dgm:t>
        <a:bodyPr/>
        <a:lstStyle/>
        <a:p>
          <a:endParaRPr lang="ru-KZ"/>
        </a:p>
      </dgm:t>
    </dgm:pt>
    <dgm:pt modelId="{F69057EC-AC4F-4529-AC3B-34F74AE6A054}" type="parTrans" cxnId="{9DCAFF27-52E2-439A-A885-35CFBE832FD2}">
      <dgm:prSet/>
      <dgm:spPr/>
      <dgm:t>
        <a:bodyPr/>
        <a:lstStyle/>
        <a:p>
          <a:endParaRPr lang="ru-KZ"/>
        </a:p>
      </dgm:t>
    </dgm:pt>
    <dgm:pt modelId="{B39530C9-6C1F-4B8E-BA08-DD6936B865EA}" type="pres">
      <dgm:prSet presAssocID="{6D1A32C1-D611-4A7E-A297-B191DF05F16F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D7CD773D-4CA1-47D5-8901-2C36906BF16D}" type="pres">
      <dgm:prSet presAssocID="{6D1A32C1-D611-4A7E-A297-B191DF05F16F}" presName="pyramid" presStyleLbl="node1" presStyleIdx="0" presStyleCnt="1"/>
      <dgm:spPr>
        <a:solidFill>
          <a:srgbClr val="0088B8"/>
        </a:solidFill>
      </dgm:spPr>
    </dgm:pt>
    <dgm:pt modelId="{68C2A4F6-1083-421C-B95F-7ACF952214BE}" type="pres">
      <dgm:prSet presAssocID="{6D1A32C1-D611-4A7E-A297-B191DF05F16F}" presName="theList" presStyleCnt="0"/>
      <dgm:spPr/>
    </dgm:pt>
    <dgm:pt modelId="{2E98E6ED-C29B-4475-8AC5-70930581006D}" type="pres">
      <dgm:prSet presAssocID="{AA4C1823-A2AC-482C-AAE0-AC34390790F3}" presName="aNode" presStyleLbl="f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5F3BD5-F750-4DF8-815C-C3A107AD5D9E}" type="pres">
      <dgm:prSet presAssocID="{AA4C1823-A2AC-482C-AAE0-AC34390790F3}" presName="aSpace" presStyleCnt="0"/>
      <dgm:spPr/>
    </dgm:pt>
    <dgm:pt modelId="{A9D2E0A6-B744-46F9-9B14-74781F59C0CB}" type="pres">
      <dgm:prSet presAssocID="{54F0C9B2-2A11-40B0-B9BF-CA3C67A34362}" presName="aNode" presStyleLbl="f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9CAF9E-155C-4AB8-B1BC-FE300E3900C9}" type="pres">
      <dgm:prSet presAssocID="{54F0C9B2-2A11-40B0-B9BF-CA3C67A34362}" presName="aSpace" presStyleCnt="0"/>
      <dgm:spPr/>
    </dgm:pt>
    <dgm:pt modelId="{14DE69AA-0898-425C-96FB-E3B2CE48F742}" type="pres">
      <dgm:prSet presAssocID="{7B1EE25F-8576-498F-82F3-BB590447794D}" presName="a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97BE51-3766-4D02-8F02-6926EDCC8A6C}" type="pres">
      <dgm:prSet presAssocID="{7B1EE25F-8576-498F-82F3-BB590447794D}" presName="aSpace" presStyleCnt="0"/>
      <dgm:spPr/>
    </dgm:pt>
    <dgm:pt modelId="{03DD6B29-7C7D-4289-AF7C-416041D80D4B}" type="pres">
      <dgm:prSet presAssocID="{A639398A-252A-4D11-A2C7-A8E7369E65BF}" presName="a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DAA20B-3AB9-4396-97C2-A35EAF9AD62C}" type="pres">
      <dgm:prSet presAssocID="{A639398A-252A-4D11-A2C7-A8E7369E65BF}" presName="aSpace" presStyleCnt="0"/>
      <dgm:spPr/>
    </dgm:pt>
  </dgm:ptLst>
  <dgm:cxnLst>
    <dgm:cxn modelId="{7D5816DD-9A53-447F-BC69-E21D472B5B24}" type="presOf" srcId="{A639398A-252A-4D11-A2C7-A8E7369E65BF}" destId="{03DD6B29-7C7D-4289-AF7C-416041D80D4B}" srcOrd="0" destOrd="0" presId="urn:microsoft.com/office/officeart/2005/8/layout/pyramid2"/>
    <dgm:cxn modelId="{6E5CCFCE-B879-45D2-81D9-9A5B600C4CA2}" type="presOf" srcId="{6D1A32C1-D611-4A7E-A297-B191DF05F16F}" destId="{B39530C9-6C1F-4B8E-BA08-DD6936B865EA}" srcOrd="0" destOrd="0" presId="urn:microsoft.com/office/officeart/2005/8/layout/pyramid2"/>
    <dgm:cxn modelId="{8B8697A4-7F82-435B-990E-76F32F43CBDE}" type="presOf" srcId="{AA4C1823-A2AC-482C-AAE0-AC34390790F3}" destId="{2E98E6ED-C29B-4475-8AC5-70930581006D}" srcOrd="0" destOrd="0" presId="urn:microsoft.com/office/officeart/2005/8/layout/pyramid2"/>
    <dgm:cxn modelId="{B3357A3E-E065-4DC2-959F-94CD33F9FF61}" srcId="{6D1A32C1-D611-4A7E-A297-B191DF05F16F}" destId="{54F0C9B2-2A11-40B0-B9BF-CA3C67A34362}" srcOrd="1" destOrd="0" parTransId="{48CF6850-6FE8-4DEA-8CD7-F33BF5F8794A}" sibTransId="{286E4867-CF24-4FA1-89C8-F06B2C434202}"/>
    <dgm:cxn modelId="{9DCAFF27-52E2-439A-A885-35CFBE832FD2}" srcId="{6D1A32C1-D611-4A7E-A297-B191DF05F16F}" destId="{A639398A-252A-4D11-A2C7-A8E7369E65BF}" srcOrd="3" destOrd="0" parTransId="{F69057EC-AC4F-4529-AC3B-34F74AE6A054}" sibTransId="{074A158E-0D28-4062-AC43-76E54F7AB003}"/>
    <dgm:cxn modelId="{0F2F92FC-9B90-44A7-9C0A-46FFBCAF7CD4}" srcId="{6D1A32C1-D611-4A7E-A297-B191DF05F16F}" destId="{AA4C1823-A2AC-482C-AAE0-AC34390790F3}" srcOrd="0" destOrd="0" parTransId="{CF5495DF-CF76-4A05-A670-E4B22C5F0F15}" sibTransId="{87C76BD6-A1C5-4E96-9B5D-DD61106C6D49}"/>
    <dgm:cxn modelId="{5C9DDDEE-49E6-493B-927B-C150816443DC}" srcId="{6D1A32C1-D611-4A7E-A297-B191DF05F16F}" destId="{7B1EE25F-8576-498F-82F3-BB590447794D}" srcOrd="2" destOrd="0" parTransId="{DD3B009A-AB42-4811-9A2A-3E6AC0370AD3}" sibTransId="{5301B183-09D6-4D19-8A32-E4ECA23FDC3A}"/>
    <dgm:cxn modelId="{1E090BAD-48C8-4559-9D3E-3610BEB10559}" type="presOf" srcId="{7B1EE25F-8576-498F-82F3-BB590447794D}" destId="{14DE69AA-0898-425C-96FB-E3B2CE48F742}" srcOrd="0" destOrd="0" presId="urn:microsoft.com/office/officeart/2005/8/layout/pyramid2"/>
    <dgm:cxn modelId="{5206110E-1C28-485E-8C25-F82CB30F546C}" type="presOf" srcId="{54F0C9B2-2A11-40B0-B9BF-CA3C67A34362}" destId="{A9D2E0A6-B744-46F9-9B14-74781F59C0CB}" srcOrd="0" destOrd="0" presId="urn:microsoft.com/office/officeart/2005/8/layout/pyramid2"/>
    <dgm:cxn modelId="{9FAEB3AF-F36B-46A4-8577-1E20E12DFE07}" type="presParOf" srcId="{B39530C9-6C1F-4B8E-BA08-DD6936B865EA}" destId="{D7CD773D-4CA1-47D5-8901-2C36906BF16D}" srcOrd="0" destOrd="0" presId="urn:microsoft.com/office/officeart/2005/8/layout/pyramid2"/>
    <dgm:cxn modelId="{E52E74EB-1BAE-4D75-8135-ADA35F32E532}" type="presParOf" srcId="{B39530C9-6C1F-4B8E-BA08-DD6936B865EA}" destId="{68C2A4F6-1083-421C-B95F-7ACF952214BE}" srcOrd="1" destOrd="0" presId="urn:microsoft.com/office/officeart/2005/8/layout/pyramid2"/>
    <dgm:cxn modelId="{3BAC9815-71EB-43C7-A3BA-08666CD3B219}" type="presParOf" srcId="{68C2A4F6-1083-421C-B95F-7ACF952214BE}" destId="{2E98E6ED-C29B-4475-8AC5-70930581006D}" srcOrd="0" destOrd="0" presId="urn:microsoft.com/office/officeart/2005/8/layout/pyramid2"/>
    <dgm:cxn modelId="{892F05F5-4CC3-46D8-99D7-F6B83471ECF6}" type="presParOf" srcId="{68C2A4F6-1083-421C-B95F-7ACF952214BE}" destId="{F75F3BD5-F750-4DF8-815C-C3A107AD5D9E}" srcOrd="1" destOrd="0" presId="urn:microsoft.com/office/officeart/2005/8/layout/pyramid2"/>
    <dgm:cxn modelId="{E9794486-8314-407B-AA96-4977C8DB3FA6}" type="presParOf" srcId="{68C2A4F6-1083-421C-B95F-7ACF952214BE}" destId="{A9D2E0A6-B744-46F9-9B14-74781F59C0CB}" srcOrd="2" destOrd="0" presId="urn:microsoft.com/office/officeart/2005/8/layout/pyramid2"/>
    <dgm:cxn modelId="{2DE1F504-C095-4825-94FA-B7D70A6B90B4}" type="presParOf" srcId="{68C2A4F6-1083-421C-B95F-7ACF952214BE}" destId="{829CAF9E-155C-4AB8-B1BC-FE300E3900C9}" srcOrd="3" destOrd="0" presId="urn:microsoft.com/office/officeart/2005/8/layout/pyramid2"/>
    <dgm:cxn modelId="{8254B378-714A-4D10-B131-32E19CFA33D5}" type="presParOf" srcId="{68C2A4F6-1083-421C-B95F-7ACF952214BE}" destId="{14DE69AA-0898-425C-96FB-E3B2CE48F742}" srcOrd="4" destOrd="0" presId="urn:microsoft.com/office/officeart/2005/8/layout/pyramid2"/>
    <dgm:cxn modelId="{5421A996-C7A7-4C95-97D7-8A255F522A41}" type="presParOf" srcId="{68C2A4F6-1083-421C-B95F-7ACF952214BE}" destId="{9697BE51-3766-4D02-8F02-6926EDCC8A6C}" srcOrd="5" destOrd="0" presId="urn:microsoft.com/office/officeart/2005/8/layout/pyramid2"/>
    <dgm:cxn modelId="{165218AA-D2E5-40FE-BAED-B03EA4222697}" type="presParOf" srcId="{68C2A4F6-1083-421C-B95F-7ACF952214BE}" destId="{03DD6B29-7C7D-4289-AF7C-416041D80D4B}" srcOrd="6" destOrd="0" presId="urn:microsoft.com/office/officeart/2005/8/layout/pyramid2"/>
    <dgm:cxn modelId="{E8C6824A-094C-46FE-B300-F32B296B202D}" type="presParOf" srcId="{68C2A4F6-1083-421C-B95F-7ACF952214BE}" destId="{1DDAA20B-3AB9-4396-97C2-A35EAF9AD62C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B22921D-A7DB-4FC3-AAF5-F107E06693D7}" type="doc">
      <dgm:prSet loTypeId="urn:microsoft.com/office/officeart/2005/8/layout/hierarchy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6BE83A12-01E4-499F-AF87-83640E472C55}">
      <dgm:prSet phldrT="[Текст]"/>
      <dgm:spPr>
        <a:solidFill>
          <a:srgbClr val="FFC000"/>
        </a:solidFill>
      </dgm:spPr>
      <dgm:t>
        <a:bodyPr/>
        <a:lstStyle/>
        <a:p>
          <a:r>
            <a:rPr lang="kk-KZ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МӘСҚ</a:t>
          </a:r>
          <a:endParaRPr lang="ru-KZ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621CB5-6F0D-40E2-B6C3-A6DB77B02E00}" type="parTrans" cxnId="{68CE5E20-610C-4B41-85A3-3E411865EC6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F31EF8-D17C-406D-BB6A-ED562B259891}" type="sibTrans" cxnId="{68CE5E20-610C-4B41-85A3-3E411865EC6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9D6C94-5C02-47FB-AE51-6B2FA0BF5F17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департамент</a:t>
          </a:r>
          <a:endParaRPr lang="ru-KZ" sz="10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9F57E1-9149-4D75-BC7D-DD73DE57DB3F}" type="parTrans" cxnId="{E38A2EBF-A004-4CFA-A185-A5B0227EE44A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69E2A6-6AF0-4FD0-9A8E-60E59AE333AD}" type="sibTrans" cxnId="{E38A2EBF-A004-4CFA-A185-A5B0227EE44A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5F7117-F84D-4A71-A812-7D487ED7EB09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 қызмет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04868D7-C6D9-4118-B389-A729BBB4CC72}" type="parTrans" cxnId="{B5A1E5A9-408A-4578-BDC7-0AD286E48DE2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F5E10D-5681-4259-832A-3FC567A27BCD}" type="sibTrans" cxnId="{B5A1E5A9-408A-4578-BDC7-0AD286E48DE2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927669-1604-4F2A-A4BD-E41CFFE82F39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 сектор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246D0B-9E1A-4D20-975F-230D0A1BF5F4}" type="parTrans" cxnId="{57671293-A3D7-40F7-85A1-51884DDADBF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7D1C67-5BFC-4587-BE52-4CB46D3C8AF3}" type="sibTrans" cxnId="{57671293-A3D7-40F7-85A1-51884DDADBF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BB5890-B9ED-49C1-81A1-A770FACCFA43}">
      <dgm:prSet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0 филиал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5F53A4-9247-4050-A1C4-1CCC39696F2E}" type="parTrans" cxnId="{759165C6-A44C-436D-8FFF-4B29DC8A17FD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D1917E-0812-4C2F-8D08-26FA692AFF74}" type="sibTrans" cxnId="{759165C6-A44C-436D-8FFF-4B29DC8A17FD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57AFC0B-33E0-45CA-ACB8-05B220B1CC96}" type="pres">
      <dgm:prSet presAssocID="{2B22921D-A7DB-4FC3-AAF5-F107E06693D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562DA0B-8674-444A-9899-AC3110934C17}" type="pres">
      <dgm:prSet presAssocID="{6BE83A12-01E4-499F-AF87-83640E472C55}" presName="vertOne" presStyleCnt="0"/>
      <dgm:spPr/>
    </dgm:pt>
    <dgm:pt modelId="{010F0681-C15A-4336-B20F-A8D90A2C55E3}" type="pres">
      <dgm:prSet presAssocID="{6BE83A12-01E4-499F-AF87-83640E472C55}" presName="txOne" presStyleLbl="node0" presStyleIdx="0" presStyleCnt="1" custScaleY="7102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ACB634D-7683-4260-B7E9-A7C005A96F98}" type="pres">
      <dgm:prSet presAssocID="{6BE83A12-01E4-499F-AF87-83640E472C55}" presName="parTransOne" presStyleCnt="0"/>
      <dgm:spPr/>
    </dgm:pt>
    <dgm:pt modelId="{9660C2D5-27CF-4B85-A3BB-4CDC31287B44}" type="pres">
      <dgm:prSet presAssocID="{6BE83A12-01E4-499F-AF87-83640E472C55}" presName="horzOne" presStyleCnt="0"/>
      <dgm:spPr/>
    </dgm:pt>
    <dgm:pt modelId="{00E8DE8F-36FD-4DED-8C32-5381AB052A0D}" type="pres">
      <dgm:prSet presAssocID="{FD9D6C94-5C02-47FB-AE51-6B2FA0BF5F17}" presName="vertTwo" presStyleCnt="0"/>
      <dgm:spPr/>
    </dgm:pt>
    <dgm:pt modelId="{03DB4FB2-5D28-4608-8EF4-B3E845F1C14A}" type="pres">
      <dgm:prSet presAssocID="{FD9D6C94-5C02-47FB-AE51-6B2FA0BF5F17}" presName="txTwo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232D94F-49B5-4E62-97A2-A6F8B5518371}" type="pres">
      <dgm:prSet presAssocID="{FD9D6C94-5C02-47FB-AE51-6B2FA0BF5F17}" presName="horzTwo" presStyleCnt="0"/>
      <dgm:spPr/>
    </dgm:pt>
    <dgm:pt modelId="{1D6C98C9-1A6A-4569-852C-DFBB833E72A4}" type="pres">
      <dgm:prSet presAssocID="{F369E2A6-6AF0-4FD0-9A8E-60E59AE333AD}" presName="sibSpaceTwo" presStyleCnt="0"/>
      <dgm:spPr/>
    </dgm:pt>
    <dgm:pt modelId="{F469D8CC-E987-48B1-B536-1F2F49CF8564}" type="pres">
      <dgm:prSet presAssocID="{0B5F7117-F84D-4A71-A812-7D487ED7EB09}" presName="vertTwo" presStyleCnt="0"/>
      <dgm:spPr/>
    </dgm:pt>
    <dgm:pt modelId="{7865EB4D-36EC-44EC-94A2-F2CBE057B734}" type="pres">
      <dgm:prSet presAssocID="{0B5F7117-F84D-4A71-A812-7D487ED7EB09}" presName="txTwo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085855E-0986-4049-98F3-B47D4D5C961C}" type="pres">
      <dgm:prSet presAssocID="{0B5F7117-F84D-4A71-A812-7D487ED7EB09}" presName="horzTwo" presStyleCnt="0"/>
      <dgm:spPr/>
    </dgm:pt>
    <dgm:pt modelId="{B3F58D7F-8837-4BB1-93E9-C6D3D06F0517}" type="pres">
      <dgm:prSet presAssocID="{66F5E10D-5681-4259-832A-3FC567A27BCD}" presName="sibSpaceTwo" presStyleCnt="0"/>
      <dgm:spPr/>
    </dgm:pt>
    <dgm:pt modelId="{5EC6B79F-933B-4325-8261-3163551C86C9}" type="pres">
      <dgm:prSet presAssocID="{FA927669-1604-4F2A-A4BD-E41CFFE82F39}" presName="vertTwo" presStyleCnt="0"/>
      <dgm:spPr/>
    </dgm:pt>
    <dgm:pt modelId="{904F7EFB-DCA4-4496-B830-C48BCBDFBA23}" type="pres">
      <dgm:prSet presAssocID="{FA927669-1604-4F2A-A4BD-E41CFFE82F39}" presName="txTwo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7C884F1-BCDA-4ECD-A7DE-301BA3E6B3C6}" type="pres">
      <dgm:prSet presAssocID="{FA927669-1604-4F2A-A4BD-E41CFFE82F39}" presName="horzTwo" presStyleCnt="0"/>
      <dgm:spPr/>
    </dgm:pt>
    <dgm:pt modelId="{973D8274-8F88-4FB2-9092-1E9D4E107288}" type="pres">
      <dgm:prSet presAssocID="{AB7D1C67-5BFC-4587-BE52-4CB46D3C8AF3}" presName="sibSpaceTwo" presStyleCnt="0"/>
      <dgm:spPr/>
    </dgm:pt>
    <dgm:pt modelId="{E4969A51-A58C-41FD-9CDE-9AB8C4AD3A75}" type="pres">
      <dgm:prSet presAssocID="{6EBB5890-B9ED-49C1-81A1-A770FACCFA43}" presName="vertTwo" presStyleCnt="0"/>
      <dgm:spPr/>
    </dgm:pt>
    <dgm:pt modelId="{E45E4A68-0EA9-481F-BBB6-359CCF951F51}" type="pres">
      <dgm:prSet presAssocID="{6EBB5890-B9ED-49C1-81A1-A770FACCFA43}" presName="txTwo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759B6EE-3BC5-43D0-9C25-2B6B683DDC0B}" type="pres">
      <dgm:prSet presAssocID="{6EBB5890-B9ED-49C1-81A1-A770FACCFA43}" presName="horzTwo" presStyleCnt="0"/>
      <dgm:spPr/>
    </dgm:pt>
  </dgm:ptLst>
  <dgm:cxnLst>
    <dgm:cxn modelId="{954BC379-6E32-4457-A501-432C0C771DC3}" type="presOf" srcId="{6EBB5890-B9ED-49C1-81A1-A770FACCFA43}" destId="{E45E4A68-0EA9-481F-BBB6-359CCF951F51}" srcOrd="0" destOrd="0" presId="urn:microsoft.com/office/officeart/2005/8/layout/hierarchy4"/>
    <dgm:cxn modelId="{324A2A96-18AC-4F5A-8E45-1A7F060A1B10}" type="presOf" srcId="{FA927669-1604-4F2A-A4BD-E41CFFE82F39}" destId="{904F7EFB-DCA4-4496-B830-C48BCBDFBA23}" srcOrd="0" destOrd="0" presId="urn:microsoft.com/office/officeart/2005/8/layout/hierarchy4"/>
    <dgm:cxn modelId="{68CE5E20-610C-4B41-85A3-3E411865EC69}" srcId="{2B22921D-A7DB-4FC3-AAF5-F107E06693D7}" destId="{6BE83A12-01E4-499F-AF87-83640E472C55}" srcOrd="0" destOrd="0" parTransId="{BB621CB5-6F0D-40E2-B6C3-A6DB77B02E00}" sibTransId="{7EF31EF8-D17C-406D-BB6A-ED562B259891}"/>
    <dgm:cxn modelId="{82F634D4-F665-4A0A-BB21-1A4DB5F69102}" type="presOf" srcId="{0B5F7117-F84D-4A71-A812-7D487ED7EB09}" destId="{7865EB4D-36EC-44EC-94A2-F2CBE057B734}" srcOrd="0" destOrd="0" presId="urn:microsoft.com/office/officeart/2005/8/layout/hierarchy4"/>
    <dgm:cxn modelId="{4CB8D385-C79E-48C8-A9B8-FCFC65065C69}" type="presOf" srcId="{FD9D6C94-5C02-47FB-AE51-6B2FA0BF5F17}" destId="{03DB4FB2-5D28-4608-8EF4-B3E845F1C14A}" srcOrd="0" destOrd="0" presId="urn:microsoft.com/office/officeart/2005/8/layout/hierarchy4"/>
    <dgm:cxn modelId="{9D6A7104-0F8E-440D-AC2D-8B5F004742CB}" type="presOf" srcId="{6BE83A12-01E4-499F-AF87-83640E472C55}" destId="{010F0681-C15A-4336-B20F-A8D90A2C55E3}" srcOrd="0" destOrd="0" presId="urn:microsoft.com/office/officeart/2005/8/layout/hierarchy4"/>
    <dgm:cxn modelId="{B5A1E5A9-408A-4578-BDC7-0AD286E48DE2}" srcId="{6BE83A12-01E4-499F-AF87-83640E472C55}" destId="{0B5F7117-F84D-4A71-A812-7D487ED7EB09}" srcOrd="1" destOrd="0" parTransId="{304868D7-C6D9-4118-B389-A729BBB4CC72}" sibTransId="{66F5E10D-5681-4259-832A-3FC567A27BCD}"/>
    <dgm:cxn modelId="{759165C6-A44C-436D-8FFF-4B29DC8A17FD}" srcId="{6BE83A12-01E4-499F-AF87-83640E472C55}" destId="{6EBB5890-B9ED-49C1-81A1-A770FACCFA43}" srcOrd="3" destOrd="0" parTransId="{505F53A4-9247-4050-A1C4-1CCC39696F2E}" sibTransId="{D4D1917E-0812-4C2F-8D08-26FA692AFF74}"/>
    <dgm:cxn modelId="{E38A2EBF-A004-4CFA-A185-A5B0227EE44A}" srcId="{6BE83A12-01E4-499F-AF87-83640E472C55}" destId="{FD9D6C94-5C02-47FB-AE51-6B2FA0BF5F17}" srcOrd="0" destOrd="0" parTransId="{BF9F57E1-9149-4D75-BC7D-DD73DE57DB3F}" sibTransId="{F369E2A6-6AF0-4FD0-9A8E-60E59AE333AD}"/>
    <dgm:cxn modelId="{6F8D6E44-1B92-4B38-A937-A0AE2A2D80D0}" type="presOf" srcId="{2B22921D-A7DB-4FC3-AAF5-F107E06693D7}" destId="{257AFC0B-33E0-45CA-ACB8-05B220B1CC96}" srcOrd="0" destOrd="0" presId="urn:microsoft.com/office/officeart/2005/8/layout/hierarchy4"/>
    <dgm:cxn modelId="{57671293-A3D7-40F7-85A1-51884DDADBF9}" srcId="{6BE83A12-01E4-499F-AF87-83640E472C55}" destId="{FA927669-1604-4F2A-A4BD-E41CFFE82F39}" srcOrd="2" destOrd="0" parTransId="{24246D0B-9E1A-4D20-975F-230D0A1BF5F4}" sibTransId="{AB7D1C67-5BFC-4587-BE52-4CB46D3C8AF3}"/>
    <dgm:cxn modelId="{6EC7CAE6-D76A-4A4E-A240-A46333BE39F2}" type="presParOf" srcId="{257AFC0B-33E0-45CA-ACB8-05B220B1CC96}" destId="{B562DA0B-8674-444A-9899-AC3110934C17}" srcOrd="0" destOrd="0" presId="urn:microsoft.com/office/officeart/2005/8/layout/hierarchy4"/>
    <dgm:cxn modelId="{DE8395A2-2109-4072-93CC-BF8C87225EDB}" type="presParOf" srcId="{B562DA0B-8674-444A-9899-AC3110934C17}" destId="{010F0681-C15A-4336-B20F-A8D90A2C55E3}" srcOrd="0" destOrd="0" presId="urn:microsoft.com/office/officeart/2005/8/layout/hierarchy4"/>
    <dgm:cxn modelId="{8210B7CF-7406-42C1-AEA3-8FF22501E4CC}" type="presParOf" srcId="{B562DA0B-8674-444A-9899-AC3110934C17}" destId="{8ACB634D-7683-4260-B7E9-A7C005A96F98}" srcOrd="1" destOrd="0" presId="urn:microsoft.com/office/officeart/2005/8/layout/hierarchy4"/>
    <dgm:cxn modelId="{74F183BD-F601-40D7-8CF3-0F7D63204EAE}" type="presParOf" srcId="{B562DA0B-8674-444A-9899-AC3110934C17}" destId="{9660C2D5-27CF-4B85-A3BB-4CDC31287B44}" srcOrd="2" destOrd="0" presId="urn:microsoft.com/office/officeart/2005/8/layout/hierarchy4"/>
    <dgm:cxn modelId="{AA949D96-8554-4292-A6C7-6D6C978BCB3A}" type="presParOf" srcId="{9660C2D5-27CF-4B85-A3BB-4CDC31287B44}" destId="{00E8DE8F-36FD-4DED-8C32-5381AB052A0D}" srcOrd="0" destOrd="0" presId="urn:microsoft.com/office/officeart/2005/8/layout/hierarchy4"/>
    <dgm:cxn modelId="{D0F9E612-3BA7-4BAE-8CBC-1586AB716AE2}" type="presParOf" srcId="{00E8DE8F-36FD-4DED-8C32-5381AB052A0D}" destId="{03DB4FB2-5D28-4608-8EF4-B3E845F1C14A}" srcOrd="0" destOrd="0" presId="urn:microsoft.com/office/officeart/2005/8/layout/hierarchy4"/>
    <dgm:cxn modelId="{4C96D043-E44D-470A-8B4B-2885F258E62A}" type="presParOf" srcId="{00E8DE8F-36FD-4DED-8C32-5381AB052A0D}" destId="{6232D94F-49B5-4E62-97A2-A6F8B5518371}" srcOrd="1" destOrd="0" presId="urn:microsoft.com/office/officeart/2005/8/layout/hierarchy4"/>
    <dgm:cxn modelId="{1E6663A0-59B9-4667-9192-7D37CD69E3D6}" type="presParOf" srcId="{9660C2D5-27CF-4B85-A3BB-4CDC31287B44}" destId="{1D6C98C9-1A6A-4569-852C-DFBB833E72A4}" srcOrd="1" destOrd="0" presId="urn:microsoft.com/office/officeart/2005/8/layout/hierarchy4"/>
    <dgm:cxn modelId="{8A99CCFA-8501-4670-A6E0-136A60A0507C}" type="presParOf" srcId="{9660C2D5-27CF-4B85-A3BB-4CDC31287B44}" destId="{F469D8CC-E987-48B1-B536-1F2F49CF8564}" srcOrd="2" destOrd="0" presId="urn:microsoft.com/office/officeart/2005/8/layout/hierarchy4"/>
    <dgm:cxn modelId="{D848A967-6765-4D8E-B43B-B9941AA9A188}" type="presParOf" srcId="{F469D8CC-E987-48B1-B536-1F2F49CF8564}" destId="{7865EB4D-36EC-44EC-94A2-F2CBE057B734}" srcOrd="0" destOrd="0" presId="urn:microsoft.com/office/officeart/2005/8/layout/hierarchy4"/>
    <dgm:cxn modelId="{3A7A55A3-1936-4DB6-98A6-758E8F99FD0B}" type="presParOf" srcId="{F469D8CC-E987-48B1-B536-1F2F49CF8564}" destId="{C085855E-0986-4049-98F3-B47D4D5C961C}" srcOrd="1" destOrd="0" presId="urn:microsoft.com/office/officeart/2005/8/layout/hierarchy4"/>
    <dgm:cxn modelId="{E3BEDD7F-14F9-4629-ABA2-1027A94E1002}" type="presParOf" srcId="{9660C2D5-27CF-4B85-A3BB-4CDC31287B44}" destId="{B3F58D7F-8837-4BB1-93E9-C6D3D06F0517}" srcOrd="3" destOrd="0" presId="urn:microsoft.com/office/officeart/2005/8/layout/hierarchy4"/>
    <dgm:cxn modelId="{3C31DF7A-8A1B-468D-B6FE-B315B178DB69}" type="presParOf" srcId="{9660C2D5-27CF-4B85-A3BB-4CDC31287B44}" destId="{5EC6B79F-933B-4325-8261-3163551C86C9}" srcOrd="4" destOrd="0" presId="urn:microsoft.com/office/officeart/2005/8/layout/hierarchy4"/>
    <dgm:cxn modelId="{AF81F7EE-EBB4-442B-8A04-FFF3297E7BA5}" type="presParOf" srcId="{5EC6B79F-933B-4325-8261-3163551C86C9}" destId="{904F7EFB-DCA4-4496-B830-C48BCBDFBA23}" srcOrd="0" destOrd="0" presId="urn:microsoft.com/office/officeart/2005/8/layout/hierarchy4"/>
    <dgm:cxn modelId="{EACBF2D5-60B0-40B1-8EFB-F370E5A42D60}" type="presParOf" srcId="{5EC6B79F-933B-4325-8261-3163551C86C9}" destId="{B7C884F1-BCDA-4ECD-A7DE-301BA3E6B3C6}" srcOrd="1" destOrd="0" presId="urn:microsoft.com/office/officeart/2005/8/layout/hierarchy4"/>
    <dgm:cxn modelId="{425991DF-16B4-42D8-B4C8-481B119351D8}" type="presParOf" srcId="{9660C2D5-27CF-4B85-A3BB-4CDC31287B44}" destId="{973D8274-8F88-4FB2-9092-1E9D4E107288}" srcOrd="5" destOrd="0" presId="urn:microsoft.com/office/officeart/2005/8/layout/hierarchy4"/>
    <dgm:cxn modelId="{DA7C7BAD-1B58-4F4F-8A38-F8B43FF40364}" type="presParOf" srcId="{9660C2D5-27CF-4B85-A3BB-4CDC31287B44}" destId="{E4969A51-A58C-41FD-9CDE-9AB8C4AD3A75}" srcOrd="6" destOrd="0" presId="urn:microsoft.com/office/officeart/2005/8/layout/hierarchy4"/>
    <dgm:cxn modelId="{8C91732D-453F-4090-A013-35E7EA865957}" type="presParOf" srcId="{E4969A51-A58C-41FD-9CDE-9AB8C4AD3A75}" destId="{E45E4A68-0EA9-481F-BBB6-359CCF951F51}" srcOrd="0" destOrd="0" presId="urn:microsoft.com/office/officeart/2005/8/layout/hierarchy4"/>
    <dgm:cxn modelId="{6A75022A-282B-480C-A87F-660F4ECFAD83}" type="presParOf" srcId="{E4969A51-A58C-41FD-9CDE-9AB8C4AD3A75}" destId="{7759B6EE-3BC5-43D0-9C25-2B6B683DDC0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ACA683-2825-43CF-83A9-B4DD68B4F5E9}">
      <dsp:nvSpPr>
        <dsp:cNvPr id="0" name=""/>
        <dsp:cNvSpPr/>
      </dsp:nvSpPr>
      <dsp:spPr>
        <a:xfrm>
          <a:off x="1251229" y="1144"/>
          <a:ext cx="859489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лғыз</a:t>
          </a:r>
          <a:r>
            <a:rPr lang="ru-RU" sz="800" b="1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акционер</a:t>
          </a:r>
          <a:endParaRPr lang="ru-KZ" sz="800" b="1" kern="1200" dirty="0"/>
        </a:p>
      </dsp:txBody>
      <dsp:txXfrm>
        <a:off x="1274327" y="24242"/>
        <a:ext cx="813293" cy="426966"/>
      </dsp:txXfrm>
    </dsp:sp>
    <dsp:sp modelId="{E6E9D93D-02DA-4A02-A307-73D0BA0BF541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379243" y="105490"/>
              </a:moveTo>
              <a:arcTo wR="945294" hR="945294" stAng="17839597" swAng="1702813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C25522-0ACC-4B61-A161-BAB399E8849C}">
      <dsp:nvSpPr>
        <dsp:cNvPr id="0" name=""/>
        <dsp:cNvSpPr/>
      </dsp:nvSpPr>
      <dsp:spPr>
        <a:xfrm>
          <a:off x="2216031" y="654326"/>
          <a:ext cx="72794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Директорлар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кеңесі</a:t>
          </a:r>
          <a:endParaRPr lang="ru-KZ" sz="800" kern="1200" dirty="0"/>
        </a:p>
      </dsp:txBody>
      <dsp:txXfrm>
        <a:off x="2239129" y="677424"/>
        <a:ext cx="681746" cy="426966"/>
      </dsp:txXfrm>
    </dsp:sp>
    <dsp:sp modelId="{C4CD14AA-DB7A-45E7-A53A-589E6B9CDAE1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889292" y="895805"/>
              </a:moveTo>
              <a:arcTo wR="945294" hR="945294" stAng="21419944" swAng="2196188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EBD17-CBE7-4791-BECA-AA47692B93B9}">
      <dsp:nvSpPr>
        <dsp:cNvPr id="0" name=""/>
        <dsp:cNvSpPr/>
      </dsp:nvSpPr>
      <dsp:spPr>
        <a:xfrm>
          <a:off x="1746513" y="1711197"/>
          <a:ext cx="98018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тқарушы</a:t>
          </a:r>
          <a:endParaRPr lang="ru-RU" sz="800" kern="1200" dirty="0"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</a:t>
          </a:r>
          <a:endParaRPr lang="ru-KZ" sz="800" kern="1200" dirty="0"/>
        </a:p>
      </dsp:txBody>
      <dsp:txXfrm>
        <a:off x="1769611" y="1734295"/>
        <a:ext cx="933986" cy="426966"/>
      </dsp:txXfrm>
    </dsp:sp>
    <dsp:sp modelId="{09650EC4-AE17-4140-AEA6-DC312E488824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009390" y="1888412"/>
              </a:moveTo>
              <a:arcTo wR="945294" hR="945294" stAng="5166722" swAng="515742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AAF7A1-2AA8-4153-9E8F-057D1E501BBE}">
      <dsp:nvSpPr>
        <dsp:cNvPr id="0" name=""/>
        <dsp:cNvSpPr/>
      </dsp:nvSpPr>
      <dsp:spPr>
        <a:xfrm>
          <a:off x="648738" y="1711197"/>
          <a:ext cx="95321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мүдделі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тараптар</a:t>
          </a:r>
          <a:endParaRPr lang="ru-KZ" sz="800" kern="1200" dirty="0"/>
        </a:p>
      </dsp:txBody>
      <dsp:txXfrm>
        <a:off x="671836" y="1734295"/>
        <a:ext cx="907016" cy="426966"/>
      </dsp:txXfrm>
    </dsp:sp>
    <dsp:sp modelId="{142C839A-66CE-4F80-B7B8-67981B76B578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58140" y="1468715"/>
              </a:moveTo>
              <a:arcTo wR="945294" hR="945294" stAng="8782674" swAng="2072852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F08D00-AA2C-4727-816C-C93CCB87222D}">
      <dsp:nvSpPr>
        <dsp:cNvPr id="0" name=""/>
        <dsp:cNvSpPr/>
      </dsp:nvSpPr>
      <dsp:spPr>
        <a:xfrm>
          <a:off x="321802" y="619785"/>
          <a:ext cx="920287" cy="542244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рғыға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әйкес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йқындалатын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өзге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де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дар</a:t>
          </a:r>
          <a:endParaRPr lang="ru-KZ" sz="800" kern="1200" dirty="0"/>
        </a:p>
      </dsp:txBody>
      <dsp:txXfrm>
        <a:off x="348272" y="646255"/>
        <a:ext cx="867347" cy="489304"/>
      </dsp:txXfrm>
    </dsp:sp>
    <dsp:sp modelId="{877ECB67-FCD8-4955-9108-B691B1F88D59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88697" y="378600"/>
              </a:moveTo>
              <a:arcTo wR="945294" hR="945294" stAng="13010001" swAng="1551896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D773D-4CA1-47D5-8901-2C36906BF16D}">
      <dsp:nvSpPr>
        <dsp:cNvPr id="0" name=""/>
        <dsp:cNvSpPr/>
      </dsp:nvSpPr>
      <dsp:spPr>
        <a:xfrm>
          <a:off x="546083" y="0"/>
          <a:ext cx="1501940" cy="1501940"/>
        </a:xfrm>
        <a:prstGeom prst="triangle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98E6ED-C29B-4475-8AC5-70930581006D}">
      <dsp:nvSpPr>
        <dsp:cNvPr id="0" name=""/>
        <dsp:cNvSpPr/>
      </dsp:nvSpPr>
      <dsp:spPr>
        <a:xfrm>
          <a:off x="1297054" y="150340"/>
          <a:ext cx="976261" cy="26694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тәуекелдерді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анықтау</a:t>
          </a:r>
          <a:endParaRPr lang="ru-KZ" sz="800" kern="1200" dirty="0"/>
        </a:p>
      </dsp:txBody>
      <dsp:txXfrm>
        <a:off x="1310085" y="163371"/>
        <a:ext cx="950199" cy="240884"/>
      </dsp:txXfrm>
    </dsp:sp>
    <dsp:sp modelId="{A9D2E0A6-B744-46F9-9B14-74781F59C0CB}">
      <dsp:nvSpPr>
        <dsp:cNvPr id="0" name=""/>
        <dsp:cNvSpPr/>
      </dsp:nvSpPr>
      <dsp:spPr>
        <a:xfrm>
          <a:off x="1297054" y="450655"/>
          <a:ext cx="976261" cy="26694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тәуекелдерді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өлшеу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бағалау</a:t>
          </a:r>
          <a:endParaRPr lang="ru-KZ" sz="800" kern="1200" dirty="0"/>
        </a:p>
      </dsp:txBody>
      <dsp:txXfrm>
        <a:off x="1310085" y="463686"/>
        <a:ext cx="950199" cy="240884"/>
      </dsp:txXfrm>
    </dsp:sp>
    <dsp:sp modelId="{14DE69AA-0898-425C-96FB-E3B2CE48F742}">
      <dsp:nvSpPr>
        <dsp:cNvPr id="0" name=""/>
        <dsp:cNvSpPr/>
      </dsp:nvSpPr>
      <dsp:spPr>
        <a:xfrm>
          <a:off x="1297054" y="750970"/>
          <a:ext cx="976261" cy="26694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ескіндемені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басқару</a:t>
          </a:r>
          <a:endParaRPr lang="ru-KZ" sz="800" kern="1200" dirty="0"/>
        </a:p>
      </dsp:txBody>
      <dsp:txXfrm>
        <a:off x="1310085" y="764001"/>
        <a:ext cx="950199" cy="240884"/>
      </dsp:txXfrm>
    </dsp:sp>
    <dsp:sp modelId="{03DD6B29-7C7D-4289-AF7C-416041D80D4B}">
      <dsp:nvSpPr>
        <dsp:cNvPr id="0" name=""/>
        <dsp:cNvSpPr/>
      </dsp:nvSpPr>
      <dsp:spPr>
        <a:xfrm>
          <a:off x="1297054" y="1051285"/>
          <a:ext cx="976261" cy="26694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мониторинг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есеп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беру</a:t>
          </a:r>
          <a:endParaRPr lang="ru-KZ" sz="800" kern="1200" dirty="0"/>
        </a:p>
      </dsp:txBody>
      <dsp:txXfrm>
        <a:off x="1310085" y="1064316"/>
        <a:ext cx="950199" cy="2408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0F0681-C15A-4336-B20F-A8D90A2C55E3}">
      <dsp:nvSpPr>
        <dsp:cNvPr id="0" name=""/>
        <dsp:cNvSpPr/>
      </dsp:nvSpPr>
      <dsp:spPr>
        <a:xfrm>
          <a:off x="1001" y="250"/>
          <a:ext cx="6196897" cy="342778"/>
        </a:xfrm>
        <a:prstGeom prst="roundRect">
          <a:avLst>
            <a:gd name="adj" fmla="val 1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5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МӘСҚ</a:t>
          </a:r>
          <a:endParaRPr lang="ru-KZ" sz="15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041" y="10290"/>
        <a:ext cx="6176817" cy="322698"/>
      </dsp:txXfrm>
    </dsp:sp>
    <dsp:sp modelId="{03DB4FB2-5D28-4608-8EF4-B3E845F1C14A}">
      <dsp:nvSpPr>
        <dsp:cNvPr id="0" name=""/>
        <dsp:cNvSpPr/>
      </dsp:nvSpPr>
      <dsp:spPr>
        <a:xfrm>
          <a:off x="100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kk-KZ" sz="1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департамент</a:t>
          </a:r>
          <a:endParaRPr lang="ru-KZ" sz="10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137" y="525648"/>
        <a:ext cx="1429135" cy="454358"/>
      </dsp:txXfrm>
    </dsp:sp>
    <dsp:sp modelId="{7865EB4D-36EC-44EC-94A2-F2CBE057B734}">
      <dsp:nvSpPr>
        <dsp:cNvPr id="0" name=""/>
        <dsp:cNvSpPr/>
      </dsp:nvSpPr>
      <dsp:spPr>
        <a:xfrm>
          <a:off x="158083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 қызмет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94967" y="525648"/>
        <a:ext cx="1429135" cy="454358"/>
      </dsp:txXfrm>
    </dsp:sp>
    <dsp:sp modelId="{904F7EFB-DCA4-4496-B830-C48BCBDFBA23}">
      <dsp:nvSpPr>
        <dsp:cNvPr id="0" name=""/>
        <dsp:cNvSpPr/>
      </dsp:nvSpPr>
      <dsp:spPr>
        <a:xfrm>
          <a:off x="316066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 сектор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74797" y="525648"/>
        <a:ext cx="1429135" cy="454358"/>
      </dsp:txXfrm>
    </dsp:sp>
    <dsp:sp modelId="{E45E4A68-0EA9-481F-BBB6-359CCF951F51}">
      <dsp:nvSpPr>
        <dsp:cNvPr id="0" name=""/>
        <dsp:cNvSpPr/>
      </dsp:nvSpPr>
      <dsp:spPr>
        <a:xfrm>
          <a:off x="474049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0 филиал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54627" y="525648"/>
        <a:ext cx="1429135" cy="4543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image" Target="../media/image11.png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506</cdr:x>
      <cdr:y>0.00575</cdr:y>
    </cdr:from>
    <cdr:to>
      <cdr:x>0.57485</cdr:x>
      <cdr:y>0.080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97171" y="14915"/>
          <a:ext cx="471474" cy="194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36000" tIns="36000" rIns="36000" bIns="36000" rtlCol="0"/>
        <a:lstStyle xmlns:a="http://schemas.openxmlformats.org/drawingml/2006/main"/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4561</cdr:x>
      <cdr:y>0.03239</cdr:y>
    </cdr:from>
    <cdr:to>
      <cdr:x>0.64088</cdr:x>
      <cdr:y>0.1085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343080" y="83972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2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1253</cdr:x>
      <cdr:y>0.63795</cdr:y>
    </cdr:from>
    <cdr:to>
      <cdr:x>0.82869</cdr:x>
      <cdr:y>0.7126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3059918" y="1653826"/>
          <a:ext cx="498838" cy="1936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9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0433</cdr:x>
      <cdr:y>0.08895</cdr:y>
    </cdr:from>
    <cdr:to>
      <cdr:x>0.6996</cdr:x>
      <cdr:y>0.16512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595279" y="230599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6208</cdr:x>
      <cdr:y>0.1623</cdr:y>
    </cdr:from>
    <cdr:to>
      <cdr:x>0.75735</cdr:x>
      <cdr:y>0.2384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843283" y="420753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4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9551</cdr:x>
      <cdr:y>0.24315</cdr:y>
    </cdr:from>
    <cdr:to>
      <cdr:x>0.79078</cdr:x>
      <cdr:y>0.31932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2986814" y="630346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5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1982</cdr:x>
      <cdr:y>0.34111</cdr:y>
    </cdr:from>
    <cdr:to>
      <cdr:x>0.81509</cdr:x>
      <cdr:y>0.41728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3091228" y="884297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6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3514</cdr:x>
      <cdr:y>0.45442</cdr:y>
    </cdr:from>
    <cdr:to>
      <cdr:x>0.83041</cdr:x>
      <cdr:y>0.53059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3157000" y="1178043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7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2767</cdr:x>
      <cdr:y>0.55293</cdr:y>
    </cdr:from>
    <cdr:to>
      <cdr:x>0.82294</cdr:x>
      <cdr:y>0.6291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124947" y="1433418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8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6826</cdr:x>
      <cdr:y>0.7669</cdr:y>
    </cdr:from>
    <cdr:to>
      <cdr:x>0.81004</cdr:x>
      <cdr:y>0.84597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2869802" y="1988099"/>
          <a:ext cx="608875" cy="2049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7339</cdr:x>
      <cdr:y>0.89035</cdr:y>
    </cdr:from>
    <cdr:to>
      <cdr:x>0.6914</cdr:x>
      <cdr:y>0.94832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2462373" y="2308135"/>
          <a:ext cx="506824" cy="1502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1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2723</cdr:x>
      <cdr:y>0.6717</cdr:y>
    </cdr:from>
    <cdr:to>
      <cdr:x>0.25235</cdr:x>
      <cdr:y>0.78792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546394" y="1741321"/>
          <a:ext cx="537307" cy="3012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2 </a:t>
          </a:r>
          <a:r>
            <a:rPr lang="kk-KZ" sz="800" b="1" dirty="0">
              <a:latin typeface="Arial" panose="020B0604020202020204" pitchFamily="34" charset="0"/>
              <a:cs typeface="Arial" panose="020B0604020202020204" pitchFamily="34" charset="0"/>
            </a:rPr>
            <a:t>ай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645</cdr:x>
      <cdr:y>0.87283</cdr:y>
    </cdr:from>
    <cdr:to>
      <cdr:x>0.47618</cdr:x>
      <cdr:y>0.91219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A31CB1C8-2888-4B18-BACE-609A6CEC49A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703025" y="4732222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788</cdr:x>
      <cdr:y>0.83348</cdr:y>
    </cdr:from>
    <cdr:to>
      <cdr:x>0.49401</cdr:x>
      <cdr:y>0.87283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FCD99687-9421-41E1-84A0-9E23301B89A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1872142" y="4518844"/>
          <a:ext cx="786452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632</cdr:x>
      <cdr:y>0.78719</cdr:y>
    </cdr:from>
    <cdr:to>
      <cdr:x>0.55605</cdr:x>
      <cdr:y>0.82655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2BC2117B-36EA-496F-AC7F-5D06D6B3F83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2132831" y="4267904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632</cdr:x>
      <cdr:y>0.74192</cdr:y>
    </cdr:from>
    <cdr:to>
      <cdr:x>0.55605</cdr:x>
      <cdr:y>0.7812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F512B8B1-BEC3-40CD-A76E-D437B5906E8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2132831" y="4022486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342</cdr:x>
      <cdr:y>0.699</cdr:y>
    </cdr:from>
    <cdr:to>
      <cdr:x>0.56315</cdr:x>
      <cdr:y>0.73836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909BCCD-07BE-4CCA-931F-38D1229C8F8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/>
        <a:stretch xmlns:a="http://schemas.openxmlformats.org/drawingml/2006/main">
          <a:fillRect/>
        </a:stretch>
      </cdr:blipFill>
      <cdr:spPr>
        <a:xfrm xmlns:a="http://schemas.openxmlformats.org/drawingml/2006/main">
          <a:off x="2171037" y="3789786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575</cdr:x>
      <cdr:y>0.65075</cdr:y>
    </cdr:from>
    <cdr:to>
      <cdr:x>0.55661</cdr:x>
      <cdr:y>0.699</cdr:y>
    </cdr:to>
    <cdr:pic>
      <cdr:nvPicPr>
        <cdr:cNvPr id="7" name="chart">
          <a:extLst xmlns:a="http://schemas.openxmlformats.org/drawingml/2006/main">
            <a:ext uri="{FF2B5EF4-FFF2-40B4-BE49-F238E27FC236}">
              <a16:creationId xmlns:a16="http://schemas.microsoft.com/office/drawing/2014/main" id="{962E4445-3CAB-494C-B886-51C2394E78C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6"/>
        <a:stretch xmlns:a="http://schemas.openxmlformats.org/drawingml/2006/main">
          <a:fillRect/>
        </a:stretch>
      </cdr:blipFill>
      <cdr:spPr>
        <a:xfrm xmlns:a="http://schemas.openxmlformats.org/drawingml/2006/main">
          <a:off x="2129783" y="3528161"/>
          <a:ext cx="865707" cy="26162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964</cdr:x>
      <cdr:y>0.60765</cdr:y>
    </cdr:from>
    <cdr:to>
      <cdr:x>0.56938</cdr:x>
      <cdr:y>0.64701</cdr:y>
    </cdr:to>
    <cdr:pic>
      <cdr:nvPicPr>
        <cdr:cNvPr id="8" name="chart">
          <a:extLst xmlns:a="http://schemas.openxmlformats.org/drawingml/2006/main">
            <a:ext uri="{FF2B5EF4-FFF2-40B4-BE49-F238E27FC236}">
              <a16:creationId xmlns:a16="http://schemas.microsoft.com/office/drawing/2014/main" id="{86405F1A-D0CA-492E-BBE8-FCD65E59656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/>
        <a:stretch xmlns:a="http://schemas.openxmlformats.org/drawingml/2006/main">
          <a:fillRect/>
        </a:stretch>
      </cdr:blipFill>
      <cdr:spPr>
        <a:xfrm xmlns:a="http://schemas.openxmlformats.org/drawingml/2006/main">
          <a:off x="2204554" y="3294485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2735</cdr:x>
      <cdr:y>0.56738</cdr:y>
    </cdr:from>
    <cdr:to>
      <cdr:x>0.58821</cdr:x>
      <cdr:y>0.60674</cdr:y>
    </cdr:to>
    <cdr:pic>
      <cdr:nvPicPr>
        <cdr:cNvPr id="9" name="chart">
          <a:extLst xmlns:a="http://schemas.openxmlformats.org/drawingml/2006/main">
            <a:ext uri="{FF2B5EF4-FFF2-40B4-BE49-F238E27FC236}">
              <a16:creationId xmlns:a16="http://schemas.microsoft.com/office/drawing/2014/main" id="{F62A7F2E-F49B-4731-BC2F-EAD86F7FD31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8"/>
        <a:stretch xmlns:a="http://schemas.openxmlformats.org/drawingml/2006/main">
          <a:fillRect/>
        </a:stretch>
      </cdr:blipFill>
      <cdr:spPr>
        <a:xfrm xmlns:a="http://schemas.openxmlformats.org/drawingml/2006/main">
          <a:off x="2299841" y="3076184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7107</cdr:x>
      <cdr:y>0.52216</cdr:y>
    </cdr:from>
    <cdr:to>
      <cdr:x>0.63193</cdr:x>
      <cdr:y>0.56152</cdr:y>
    </cdr:to>
    <cdr:pic>
      <cdr:nvPicPr>
        <cdr:cNvPr id="10" name="chart">
          <a:extLst xmlns:a="http://schemas.openxmlformats.org/drawingml/2006/main">
            <a:ext uri="{FF2B5EF4-FFF2-40B4-BE49-F238E27FC236}">
              <a16:creationId xmlns:a16="http://schemas.microsoft.com/office/drawing/2014/main" id="{780C7F3B-85DD-4AEA-9B7E-6BC0FE9195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/>
        <a:stretch xmlns:a="http://schemas.openxmlformats.org/drawingml/2006/main">
          <a:fillRect/>
        </a:stretch>
      </cdr:blipFill>
      <cdr:spPr>
        <a:xfrm xmlns:a="http://schemas.openxmlformats.org/drawingml/2006/main">
          <a:off x="2535112" y="283099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1496</cdr:x>
      <cdr:y>0.48032</cdr:y>
    </cdr:from>
    <cdr:to>
      <cdr:x>0.67582</cdr:x>
      <cdr:y>0.51968</cdr:y>
    </cdr:to>
    <cdr:pic>
      <cdr:nvPicPr>
        <cdr:cNvPr id="11" name="chart">
          <a:extLst xmlns:a="http://schemas.openxmlformats.org/drawingml/2006/main">
            <a:ext uri="{FF2B5EF4-FFF2-40B4-BE49-F238E27FC236}">
              <a16:creationId xmlns:a16="http://schemas.microsoft.com/office/drawing/2014/main" id="{9F3A7D51-777B-4C0C-82ED-A125B231C9A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0"/>
        <a:stretch xmlns:a="http://schemas.openxmlformats.org/drawingml/2006/main">
          <a:fillRect/>
        </a:stretch>
      </cdr:blipFill>
      <cdr:spPr>
        <a:xfrm xmlns:a="http://schemas.openxmlformats.org/drawingml/2006/main">
          <a:off x="2771328" y="2604156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2797</cdr:x>
      <cdr:y>0.42964</cdr:y>
    </cdr:from>
    <cdr:to>
      <cdr:x>0.6877</cdr:x>
      <cdr:y>0.46899</cdr:y>
    </cdr:to>
    <cdr:pic>
      <cdr:nvPicPr>
        <cdr:cNvPr id="12" name="chart">
          <a:extLst xmlns:a="http://schemas.openxmlformats.org/drawingml/2006/main">
            <a:ext uri="{FF2B5EF4-FFF2-40B4-BE49-F238E27FC236}">
              <a16:creationId xmlns:a16="http://schemas.microsoft.com/office/drawing/2014/main" id="{64719DDE-7C47-47D3-A82D-F562ED49CE3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1"/>
        <a:stretch xmlns:a="http://schemas.openxmlformats.org/drawingml/2006/main">
          <a:fillRect/>
        </a:stretch>
      </cdr:blipFill>
      <cdr:spPr>
        <a:xfrm xmlns:a="http://schemas.openxmlformats.org/drawingml/2006/main">
          <a:off x="2841329" y="2329359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3562</cdr:x>
      <cdr:y>0.3894</cdr:y>
    </cdr:from>
    <cdr:to>
      <cdr:x>0.69535</cdr:x>
      <cdr:y>0.42876</cdr:y>
    </cdr:to>
    <cdr:pic>
      <cdr:nvPicPr>
        <cdr:cNvPr id="13" name="chart">
          <a:extLst xmlns:a="http://schemas.openxmlformats.org/drawingml/2006/main">
            <a:ext uri="{FF2B5EF4-FFF2-40B4-BE49-F238E27FC236}">
              <a16:creationId xmlns:a16="http://schemas.microsoft.com/office/drawing/2014/main" id="{15D8F9AA-65D1-40CE-ADC8-2D5679507BA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2"/>
        <a:stretch xmlns:a="http://schemas.openxmlformats.org/drawingml/2006/main">
          <a:fillRect/>
        </a:stretch>
      </cdr:blipFill>
      <cdr:spPr>
        <a:xfrm xmlns:a="http://schemas.openxmlformats.org/drawingml/2006/main">
          <a:off x="2882522" y="2111212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3292</cdr:x>
      <cdr:y>0.33869</cdr:y>
    </cdr:from>
    <cdr:to>
      <cdr:x>0.69265</cdr:x>
      <cdr:y>0.37805</cdr:y>
    </cdr:to>
    <cdr:pic>
      <cdr:nvPicPr>
        <cdr:cNvPr id="14" name="chart">
          <a:extLst xmlns:a="http://schemas.openxmlformats.org/drawingml/2006/main">
            <a:ext uri="{FF2B5EF4-FFF2-40B4-BE49-F238E27FC236}">
              <a16:creationId xmlns:a16="http://schemas.microsoft.com/office/drawing/2014/main" id="{BF859741-526C-4A7E-86AB-E355ED1664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3"/>
        <a:stretch xmlns:a="http://schemas.openxmlformats.org/drawingml/2006/main">
          <a:fillRect/>
        </a:stretch>
      </cdr:blipFill>
      <cdr:spPr>
        <a:xfrm xmlns:a="http://schemas.openxmlformats.org/drawingml/2006/main">
          <a:off x="2867963" y="1836288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6283</cdr:x>
      <cdr:y>0.30218</cdr:y>
    </cdr:from>
    <cdr:to>
      <cdr:x>0.7237</cdr:x>
      <cdr:y>0.34153</cdr:y>
    </cdr:to>
    <cdr:pic>
      <cdr:nvPicPr>
        <cdr:cNvPr id="15" name="chart">
          <a:extLst xmlns:a="http://schemas.openxmlformats.org/drawingml/2006/main">
            <a:ext uri="{FF2B5EF4-FFF2-40B4-BE49-F238E27FC236}">
              <a16:creationId xmlns:a16="http://schemas.microsoft.com/office/drawing/2014/main" id="{52D5A36D-8A85-4754-B141-23F04EF2C0A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4"/>
        <a:stretch xmlns:a="http://schemas.openxmlformats.org/drawingml/2006/main">
          <a:fillRect/>
        </a:stretch>
      </cdr:blipFill>
      <cdr:spPr>
        <a:xfrm xmlns:a="http://schemas.openxmlformats.org/drawingml/2006/main">
          <a:off x="3028950" y="163830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6283</cdr:x>
      <cdr:y>0.25825</cdr:y>
    </cdr:from>
    <cdr:to>
      <cdr:x>0.7237</cdr:x>
      <cdr:y>0.29761</cdr:y>
    </cdr:to>
    <cdr:pic>
      <cdr:nvPicPr>
        <cdr:cNvPr id="16" name="chart">
          <a:extLst xmlns:a="http://schemas.openxmlformats.org/drawingml/2006/main">
            <a:ext uri="{FF2B5EF4-FFF2-40B4-BE49-F238E27FC236}">
              <a16:creationId xmlns:a16="http://schemas.microsoft.com/office/drawing/2014/main" id="{C2A100C0-6208-45B8-81BA-8E3907729E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5"/>
        <a:stretch xmlns:a="http://schemas.openxmlformats.org/drawingml/2006/main">
          <a:fillRect/>
        </a:stretch>
      </cdr:blipFill>
      <cdr:spPr>
        <a:xfrm xmlns:a="http://schemas.openxmlformats.org/drawingml/2006/main">
          <a:off x="3028950" y="140017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0727</cdr:x>
      <cdr:y>0.2153</cdr:y>
    </cdr:from>
    <cdr:to>
      <cdr:x>0.76813</cdr:x>
      <cdr:y>0.25465</cdr:y>
    </cdr:to>
    <cdr:pic>
      <cdr:nvPicPr>
        <cdr:cNvPr id="17" name="chart">
          <a:extLst xmlns:a="http://schemas.openxmlformats.org/drawingml/2006/main">
            <a:ext uri="{FF2B5EF4-FFF2-40B4-BE49-F238E27FC236}">
              <a16:creationId xmlns:a16="http://schemas.microsoft.com/office/drawing/2014/main" id="{803C4359-B47B-4E62-A64C-6841948A26A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6"/>
        <a:stretch xmlns:a="http://schemas.openxmlformats.org/drawingml/2006/main">
          <a:fillRect/>
        </a:stretch>
      </cdr:blipFill>
      <cdr:spPr>
        <a:xfrm xmlns:a="http://schemas.openxmlformats.org/drawingml/2006/main">
          <a:off x="3268086" y="116728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2363</cdr:x>
      <cdr:y>0.16163</cdr:y>
    </cdr:from>
    <cdr:to>
      <cdr:x>0.78449</cdr:x>
      <cdr:y>0.20098</cdr:y>
    </cdr:to>
    <cdr:pic>
      <cdr:nvPicPr>
        <cdr:cNvPr id="18" name="chart">
          <a:extLst xmlns:a="http://schemas.openxmlformats.org/drawingml/2006/main">
            <a:ext uri="{FF2B5EF4-FFF2-40B4-BE49-F238E27FC236}">
              <a16:creationId xmlns:a16="http://schemas.microsoft.com/office/drawing/2014/main" id="{916EFE61-CB97-47EE-8048-D41ABE72EA6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7"/>
        <a:stretch xmlns:a="http://schemas.openxmlformats.org/drawingml/2006/main">
          <a:fillRect/>
        </a:stretch>
      </cdr:blipFill>
      <cdr:spPr>
        <a:xfrm xmlns:a="http://schemas.openxmlformats.org/drawingml/2006/main">
          <a:off x="3356118" y="87630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5628</cdr:x>
      <cdr:y>0.11694</cdr:y>
    </cdr:from>
    <cdr:to>
      <cdr:x>0.81715</cdr:x>
      <cdr:y>0.1563</cdr:y>
    </cdr:to>
    <cdr:pic>
      <cdr:nvPicPr>
        <cdr:cNvPr id="19" name="chart">
          <a:extLst xmlns:a="http://schemas.openxmlformats.org/drawingml/2006/main">
            <a:ext uri="{FF2B5EF4-FFF2-40B4-BE49-F238E27FC236}">
              <a16:creationId xmlns:a16="http://schemas.microsoft.com/office/drawing/2014/main" id="{5ED108F3-A305-421B-8F42-3DE3A0E23F4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8"/>
        <a:stretch xmlns:a="http://schemas.openxmlformats.org/drawingml/2006/main">
          <a:fillRect/>
        </a:stretch>
      </cdr:blipFill>
      <cdr:spPr>
        <a:xfrm xmlns:a="http://schemas.openxmlformats.org/drawingml/2006/main">
          <a:off x="3531872" y="634033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72546</cdr:x>
      <cdr:y>0.07759</cdr:y>
    </cdr:from>
    <cdr:to>
      <cdr:x>0.88632</cdr:x>
      <cdr:y>0.11694</cdr:y>
    </cdr:to>
    <cdr:pic>
      <cdr:nvPicPr>
        <cdr:cNvPr id="20" name="chart">
          <a:extLst xmlns:a="http://schemas.openxmlformats.org/drawingml/2006/main">
            <a:ext uri="{FF2B5EF4-FFF2-40B4-BE49-F238E27FC236}">
              <a16:creationId xmlns:a16="http://schemas.microsoft.com/office/drawing/2014/main" id="{71A1F508-6E01-4C88-AE5D-A7354EB6B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9"/>
        <a:stretch xmlns:a="http://schemas.openxmlformats.org/drawingml/2006/main">
          <a:fillRect/>
        </a:stretch>
      </cdr:blipFill>
      <cdr:spPr>
        <a:xfrm xmlns:a="http://schemas.openxmlformats.org/drawingml/2006/main">
          <a:off x="3904134" y="42065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3279</cdr:x>
      <cdr:y>0.03689</cdr:y>
    </cdr:from>
    <cdr:to>
      <cdr:x>0.99365</cdr:x>
      <cdr:y>0.07625</cdr:y>
    </cdr:to>
    <cdr:pic>
      <cdr:nvPicPr>
        <cdr:cNvPr id="21" name="chart">
          <a:extLst xmlns:a="http://schemas.openxmlformats.org/drawingml/2006/main">
            <a:ext uri="{FF2B5EF4-FFF2-40B4-BE49-F238E27FC236}">
              <a16:creationId xmlns:a16="http://schemas.microsoft.com/office/drawing/2014/main" id="{14A21AD3-5DC9-4ED6-A207-70AAB4CCA03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0"/>
        <a:stretch xmlns:a="http://schemas.openxmlformats.org/drawingml/2006/main">
          <a:fillRect/>
        </a:stretch>
      </cdr:blipFill>
      <cdr:spPr>
        <a:xfrm xmlns:a="http://schemas.openxmlformats.org/drawingml/2006/main">
          <a:off x="4481744" y="200025"/>
          <a:ext cx="865707" cy="213378"/>
        </a:xfrm>
        <a:prstGeom xmlns:a="http://schemas.openxmlformats.org/drawingml/2006/main" prst="rect">
          <a:avLst/>
        </a:prstGeom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7493</cdr:x>
      <cdr:y>0.01893</cdr:y>
    </cdr:from>
    <cdr:to>
      <cdr:x>1</cdr:x>
      <cdr:y>0.1511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39713" y="72394"/>
          <a:ext cx="4903888" cy="5056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5534</cdr:x>
      <cdr:y>0.79323</cdr:y>
    </cdr:from>
    <cdr:to>
      <cdr:x>0.9856</cdr:x>
      <cdr:y>0.882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408023" y="3834429"/>
          <a:ext cx="266321" cy="431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b="1" i="1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12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79625" y="1241425"/>
            <a:ext cx="2509838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942DF2-8739-4E5F-B9DD-32E48D476DB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95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41513" y="1347788"/>
            <a:ext cx="2727325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953049-905A-4C24-9DD3-886F533D0550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4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5008B-2FD5-45B6-B3D2-F2E56E4D46AA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6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BF211-B49F-4E45-B736-F4B4AF2C973C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971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1D47-3D45-4A8B-B875-DC8250257EF6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55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C28-9BAE-4E49-A883-FD4E2309BCA5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943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ECED8-B68F-4A76-94DF-5659967D8605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50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B90CB-B61A-4C0F-A477-AA5A1812719D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09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EB4F8-2864-45B8-8E75-A302E23A69B6}" type="datetime1">
              <a:rPr lang="en-US" smtClean="0"/>
              <a:t>12/4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771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335B8-9B79-4DCD-8636-02FBAB7FCE3D}" type="datetime1">
              <a:rPr lang="en-US" smtClean="0"/>
              <a:t>12/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12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2D7E4-1B2F-48A9-AD58-255B7BA496A3}" type="datetime1">
              <a:rPr lang="en-US" smtClean="0"/>
              <a:t>12/4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4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6C946-6A7C-4690-AAC1-0FD27A750839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33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28653-55F0-4529-89F0-87A451DB9D96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57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2826"/>
          <a:ext cx="1191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826"/>
                        <a:ext cx="1191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90886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625519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379" indent="-406379" algn="l" defTabSz="1625519" rtl="0" eaLnBrk="1" latinLnBrk="0" hangingPunct="1">
        <a:lnSpc>
          <a:spcPct val="90000"/>
        </a:lnSpc>
        <a:spcBef>
          <a:spcPts val="1777"/>
        </a:spcBef>
        <a:buFont typeface="Arial" panose="020B0604020202020204" pitchFamily="34" charset="0"/>
        <a:buChar char="•"/>
        <a:defRPr sz="497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3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189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658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17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293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569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454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6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9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78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03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79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55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31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07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305B9-BC53-4AC4-B388-D97BC395592E}" type="datetime1">
              <a:rPr lang="en-US" smtClean="0"/>
              <a:t>12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5" Type="http://schemas.openxmlformats.org/officeDocument/2006/relationships/image" Target="../media/image10.jpeg"/><Relationship Id="rId4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gfss.kz" TargetMode="Externa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-91439" y="0"/>
            <a:ext cx="4857750" cy="91440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6C77-DD8F-4EB2-82E4-84F18CC6A0E3}"/>
              </a:ext>
            </a:extLst>
          </p:cNvPr>
          <p:cNvSpPr txBox="1"/>
          <p:nvPr/>
        </p:nvSpPr>
        <p:spPr>
          <a:xfrm>
            <a:off x="190637" y="2840222"/>
            <a:ext cx="3656647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МӘСҚ» АҚ 2023 </a:t>
            </a:r>
            <a:r>
              <a:rPr lang="ru-RU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жылдың</a:t>
            </a:r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жұмыс</a:t>
            </a:r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қорытындысы</a:t>
            </a:r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ойынша</a:t>
            </a:r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есебі</a:t>
            </a:r>
            <a:endParaRPr lang="en-US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18CCA75-F750-4718-BF5C-9F373ABF7C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66570" t="29025" r="607" b="12924"/>
          <a:stretch/>
        </p:blipFill>
        <p:spPr>
          <a:xfrm>
            <a:off x="3847284" y="2829553"/>
            <a:ext cx="2620296" cy="306832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828BAC0-1693-41B4-B7F2-69FDE60FFA9E}"/>
              </a:ext>
            </a:extLst>
          </p:cNvPr>
          <p:cNvSpPr/>
          <p:nvPr/>
        </p:nvSpPr>
        <p:spPr>
          <a:xfrm>
            <a:off x="4766311" y="274315"/>
            <a:ext cx="21856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«МӘСҚ» </a:t>
            </a:r>
            <a:r>
              <a:rPr lang="kk-KZ" sz="1600" dirty="0"/>
              <a:t>АҚ</a:t>
            </a:r>
            <a:r>
              <a:rPr lang="ru-RU" sz="1600" dirty="0"/>
              <a:t> </a:t>
            </a:r>
            <a:r>
              <a:rPr lang="ru-RU" sz="1600" dirty="0" err="1"/>
              <a:t>Директорлар</a:t>
            </a:r>
            <a:r>
              <a:rPr lang="ru-RU" sz="1600" dirty="0"/>
              <a:t> </a:t>
            </a:r>
            <a:r>
              <a:rPr lang="ru-RU" sz="1600" dirty="0" err="1"/>
              <a:t>кеңесінің</a:t>
            </a:r>
            <a:r>
              <a:rPr lang="ru-RU" sz="1600" dirty="0"/>
              <a:t> 2024 </a:t>
            </a:r>
            <a:r>
              <a:rPr lang="ru-RU" sz="1600" dirty="0" err="1" smtClean="0"/>
              <a:t>жылғы</a:t>
            </a:r>
            <a:endParaRPr lang="ru-RU" sz="1600" smtClean="0"/>
          </a:p>
          <a:p>
            <a:r>
              <a:rPr lang="ru-RU" sz="1600" smtClean="0"/>
              <a:t>02 </a:t>
            </a:r>
            <a:r>
              <a:rPr lang="ru-RU" sz="1600" dirty="0" err="1"/>
              <a:t>желтоқсандағы</a:t>
            </a:r>
            <a:r>
              <a:rPr lang="ru-RU" sz="1600" dirty="0"/>
              <a:t> №15 </a:t>
            </a:r>
            <a:r>
              <a:rPr lang="ru-RU" sz="1600" dirty="0" err="1"/>
              <a:t>шешімімен</a:t>
            </a:r>
            <a:r>
              <a:rPr lang="ru-RU" sz="1600" dirty="0"/>
              <a:t> </a:t>
            </a:r>
            <a:r>
              <a:rPr lang="ru-RU" sz="1600" dirty="0" err="1"/>
              <a:t>бекітілді</a:t>
            </a:r>
            <a:endParaRPr lang="ru-KZ" sz="1600" dirty="0"/>
          </a:p>
        </p:txBody>
      </p:sp>
    </p:spTree>
    <p:extLst>
      <p:ext uri="{BB962C8B-B14F-4D97-AF65-F5344CB8AC3E}">
        <p14:creationId xmlns:p14="http://schemas.microsoft.com/office/powerpoint/2010/main" val="2978844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ee4pHeader1">
            <a:extLst>
              <a:ext uri="{FF2B5EF4-FFF2-40B4-BE49-F238E27FC236}">
                <a16:creationId xmlns:a16="http://schemas.microsoft.com/office/drawing/2014/main" id="{B84FE0E5-52E1-4BDE-9EA8-2F84949AB302}"/>
              </a:ext>
            </a:extLst>
          </p:cNvPr>
          <p:cNvSpPr txBox="1"/>
          <p:nvPr/>
        </p:nvSpPr>
        <p:spPr>
          <a:xfrm>
            <a:off x="827490" y="1390296"/>
            <a:ext cx="5614932" cy="24069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өсімпұлд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(млрд.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еңг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)</a:t>
            </a: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74619" y="114455"/>
            <a:ext cx="6537328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ҒА ӘЛЕУМЕТТІК АУДАРЫМДА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790" y="883920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8390" y="8779714"/>
            <a:ext cx="723900" cy="32385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2E4F2723-34B9-4DE5-BB5A-ACDC40C2DC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2097953"/>
              </p:ext>
            </p:extLst>
          </p:nvPr>
        </p:nvGraphicFramePr>
        <p:xfrm>
          <a:off x="912070" y="1630985"/>
          <a:ext cx="5033857" cy="2180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4B09873-B4FA-4D7B-9E4E-6D53645B14A8}"/>
              </a:ext>
            </a:extLst>
          </p:cNvPr>
          <p:cNvSpPr/>
          <p:nvPr/>
        </p:nvSpPr>
        <p:spPr>
          <a:xfrm>
            <a:off x="174619" y="603179"/>
            <a:ext cx="6444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3411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ктик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налыс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й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,5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82642BC4-F1CE-48D8-A1FB-B6B481F0377C}"/>
              </a:ext>
            </a:extLst>
          </p:cNvPr>
          <p:cNvSpPr/>
          <p:nvPr/>
        </p:nvSpPr>
        <p:spPr>
          <a:xfrm>
            <a:off x="81910" y="3791083"/>
            <a:ext cx="65373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ctr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indent="265113" algn="ctr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4,5% -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595C54E2-2668-4D5D-BA5C-980E79E2FBA4}"/>
              </a:ext>
            </a:extLst>
          </p:cNvPr>
          <p:cNvSpPr/>
          <p:nvPr/>
        </p:nvSpPr>
        <p:spPr>
          <a:xfrm>
            <a:off x="174619" y="4416902"/>
            <a:ext cx="65806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у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</a:p>
        </p:txBody>
      </p:sp>
      <p:graphicFrame>
        <p:nvGraphicFramePr>
          <p:cNvPr id="106" name="Диаграмма 105">
            <a:extLst>
              <a:ext uri="{FF2B5EF4-FFF2-40B4-BE49-F238E27FC236}">
                <a16:creationId xmlns:a16="http://schemas.microsoft.com/office/drawing/2014/main" id="{2D62B563-20AC-4C42-A24E-1FDF294AB9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3996845"/>
              </p:ext>
            </p:extLst>
          </p:nvPr>
        </p:nvGraphicFramePr>
        <p:xfrm>
          <a:off x="-33353" y="4729820"/>
          <a:ext cx="6707636" cy="3017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8CFD685-5A5D-49E3-AB99-4CD4D8B55EED}"/>
              </a:ext>
            </a:extLst>
          </p:cNvPr>
          <p:cNvSpPr/>
          <p:nvPr/>
        </p:nvSpPr>
        <p:spPr>
          <a:xfrm>
            <a:off x="92746" y="7760606"/>
            <a:ext cx="66148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тт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і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6%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ты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ст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лар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еспублик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 47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C980F26-79C0-4508-9CF8-61A2B1146C98}"/>
              </a:ext>
            </a:extLst>
          </p:cNvPr>
          <p:cNvCxnSpPr>
            <a:cxnSpLocks/>
          </p:cNvCxnSpPr>
          <p:nvPr/>
        </p:nvCxnSpPr>
        <p:spPr>
          <a:xfrm flipV="1">
            <a:off x="10875" y="4792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964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32220" y="880872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2400" y="8797290"/>
            <a:ext cx="412750" cy="26564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65C64E5-EEBD-47E9-BDB8-12CDFEEB9B12}"/>
              </a:ext>
            </a:extLst>
          </p:cNvPr>
          <p:cNvSpPr/>
          <p:nvPr/>
        </p:nvSpPr>
        <p:spPr>
          <a:xfrm>
            <a:off x="785487" y="4298196"/>
            <a:ext cx="533992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</a:t>
            </a: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7AAA297-6F31-43C7-89CD-7FC8A6C959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3668049"/>
              </p:ext>
            </p:extLst>
          </p:nvPr>
        </p:nvGraphicFramePr>
        <p:xfrm>
          <a:off x="324422" y="4475360"/>
          <a:ext cx="6209156" cy="2820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A017F73-6E19-4A79-9E72-2C132754724A}"/>
              </a:ext>
            </a:extLst>
          </p:cNvPr>
          <p:cNvSpPr/>
          <p:nvPr/>
        </p:nvSpPr>
        <p:spPr>
          <a:xfrm>
            <a:off x="324422" y="3343175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итет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ректер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ӘА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шект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183,7 млн.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н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т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1,0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ru-RU" sz="10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гі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шек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ойынша-750,1 млн. </a:t>
            </a:r>
            <a:r>
              <a:rPr lang="ru-RU" sz="10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өсімпұл-433,6 млн. </a:t>
            </a:r>
            <a:r>
              <a:rPr lang="ru-RU" sz="10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0ED5136-8E9B-4D14-9B47-9AF78819FE52}"/>
              </a:ext>
            </a:extLst>
          </p:cNvPr>
          <p:cNvSpPr/>
          <p:nvPr/>
        </p:nvSpPr>
        <p:spPr>
          <a:xfrm>
            <a:off x="324422" y="7361779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>
              <a:tabLst>
                <a:tab pos="360671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шек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бай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212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кі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22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мол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22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м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деу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лматы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Жамбыл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ғыст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Шымкент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а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CF4373B-A194-491C-925D-D6100950ACE4}"/>
              </a:ext>
            </a:extLst>
          </p:cNvPr>
          <p:cNvSpPr/>
          <p:nvPr/>
        </p:nvSpPr>
        <p:spPr>
          <a:xfrm>
            <a:off x="1086852" y="721776"/>
            <a:ext cx="53014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т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160335" y="66620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 АУДАРЫМДАР МЕН ӨСІМПҰЛДАР БОЙЫНША БЕРЕШЕК</a:t>
            </a:r>
            <a:endParaRPr lang="ru-KZ" sz="16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F03895B-5A33-4F1F-9DBB-67B08F14E758}"/>
              </a:ext>
            </a:extLst>
          </p:cNvPr>
          <p:cNvCxnSpPr>
            <a:cxnSpLocks/>
          </p:cNvCxnSpPr>
          <p:nvPr/>
        </p:nvCxnSpPr>
        <p:spPr>
          <a:xfrm flipV="1">
            <a:off x="0" y="579126"/>
            <a:ext cx="6332220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1E073F8B-3B11-4DDA-A605-260863D169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8937443"/>
              </p:ext>
            </p:extLst>
          </p:nvPr>
        </p:nvGraphicFramePr>
        <p:xfrm>
          <a:off x="947757" y="1142141"/>
          <a:ext cx="4572000" cy="2122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6945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3332" y="88265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6212" y="8826509"/>
            <a:ext cx="412750" cy="26353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230624" y="120925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 ҚАТЫСУШЫЛАР САНЫНЫҢ 50% ЖӘНЕ ОДАН ДА КӨП ТӨМЕНДЕУІНЕ МОНИТОРИНГ ЖҮРГІЗУ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EFCC1D-0CD8-4983-BEEB-3DCF7BD652C5}"/>
              </a:ext>
            </a:extLst>
          </p:cNvPr>
          <p:cNvSpPr/>
          <p:nvPr/>
        </p:nvSpPr>
        <p:spPr>
          <a:xfrm>
            <a:off x="230623" y="5984972"/>
            <a:ext cx="635136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дік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ібері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лар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діктер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БЖЗҚ" АҚ-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ар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Қ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ма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мш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д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бас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тер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іптес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ж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таб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та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ңд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5049C19-CC8B-4989-BF69-6908ACC0636A}"/>
              </a:ext>
            </a:extLst>
          </p:cNvPr>
          <p:cNvSpPr/>
          <p:nvPr/>
        </p:nvSpPr>
        <p:spPr>
          <a:xfrm>
            <a:off x="123714" y="989902"/>
            <a:ext cx="654165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і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тат саны 5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тат саны 5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т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3,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9,2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на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та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пен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,5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3%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697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595B6CB-ADE2-4052-97DD-DD758ADE4527}"/>
              </a:ext>
            </a:extLst>
          </p:cNvPr>
          <p:cNvSpPr/>
          <p:nvPr/>
        </p:nvSpPr>
        <p:spPr>
          <a:xfrm>
            <a:off x="230624" y="2262550"/>
            <a:ext cx="634480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</a:t>
            </a:r>
            <a:endParaRPr lang="ru-RU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F7DB3DA-04CB-4546-99BF-27EC71296B06}"/>
              </a:ext>
            </a:extLst>
          </p:cNvPr>
          <p:cNvSpPr/>
          <p:nvPr/>
        </p:nvSpPr>
        <p:spPr>
          <a:xfrm>
            <a:off x="90671" y="5067969"/>
            <a:ext cx="650721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241294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сқар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й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нақта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иеленіст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уын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ме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убъектілерд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ар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9BCBD11-73A6-443E-838C-88D31BBBD0BC}"/>
              </a:ext>
            </a:extLst>
          </p:cNvPr>
          <p:cNvCxnSpPr>
            <a:cxnSpLocks/>
          </p:cNvCxnSpPr>
          <p:nvPr/>
        </p:nvCxnSpPr>
        <p:spPr>
          <a:xfrm flipV="1">
            <a:off x="0" y="73029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18D0DE3-F618-4AA5-BA69-D8D492A9044C}"/>
              </a:ext>
            </a:extLst>
          </p:cNvPr>
          <p:cNvSpPr/>
          <p:nvPr/>
        </p:nvSpPr>
        <p:spPr>
          <a:xfrm>
            <a:off x="130276" y="7774848"/>
            <a:ext cx="645171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spcAft>
                <a:spcPts val="0"/>
              </a:spcAft>
              <a:tabLst>
                <a:tab pos="428625" algn="l"/>
                <a:tab pos="45021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14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д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C822140-E755-4C55-BFEF-0C3F09339C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4932849"/>
              </p:ext>
            </p:extLst>
          </p:nvPr>
        </p:nvGraphicFramePr>
        <p:xfrm>
          <a:off x="756979" y="2581329"/>
          <a:ext cx="5292091" cy="2314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70326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7151" y="5058422"/>
            <a:ext cx="679411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77BF94-CD21-4A83-B865-A4840D08CA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3429815"/>
              </p:ext>
            </p:extLst>
          </p:nvPr>
        </p:nvGraphicFramePr>
        <p:xfrm>
          <a:off x="1235210" y="1913231"/>
          <a:ext cx="4337998" cy="241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262890" y="896312"/>
            <a:ext cx="630678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59,2 млн.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20,6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AF7BBA-A56A-4374-A95D-52C578E2E5C3}"/>
              </a:ext>
            </a:extLst>
          </p:cNvPr>
          <p:cNvSpPr/>
          <p:nvPr/>
        </p:nvSpPr>
        <p:spPr>
          <a:xfrm>
            <a:off x="233526" y="4463591"/>
            <a:ext cx="63080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,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а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38,6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лғ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74A3855-BB41-4CD3-A574-F8C5524A7CFB}"/>
              </a:ext>
            </a:extLst>
          </p:cNvPr>
          <p:cNvSpPr/>
          <p:nvPr/>
        </p:nvSpPr>
        <p:spPr>
          <a:xfrm>
            <a:off x="262889" y="7959800"/>
            <a:ext cx="63080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нк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т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1,1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псыр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ім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і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5,7%.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E5ABB89F-7E19-48F8-90C8-92619601C2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376663"/>
              </p:ext>
            </p:extLst>
          </p:nvPr>
        </p:nvGraphicFramePr>
        <p:xfrm>
          <a:off x="925829" y="5506747"/>
          <a:ext cx="5292091" cy="2314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814551" y="1446496"/>
            <a:ext cx="55146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366939CD-F036-47BA-8700-E1225472FA5A}"/>
              </a:ext>
            </a:extLst>
          </p:cNvPr>
          <p:cNvSpPr txBox="1"/>
          <p:nvPr/>
        </p:nvSpPr>
        <p:spPr>
          <a:xfrm>
            <a:off x="118880" y="96735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 (ҚАТЕ) ТӨЛЕНГЕН ӘЛЕУМЕТТІК АУДАРЫМДАР МЕН ӨСІМПҰЛДАРДЫ ҚАЙТАРУ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0AA3A00-AC27-4598-84C2-CE5D10C949AB}"/>
              </a:ext>
            </a:extLst>
          </p:cNvPr>
          <p:cNvCxnSpPr>
            <a:cxnSpLocks/>
          </p:cNvCxnSpPr>
          <p:nvPr/>
        </p:nvCxnSpPr>
        <p:spPr>
          <a:xfrm flipV="1">
            <a:off x="0" y="67538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0994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12130D-333C-4362-8A96-8C6A8C5E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71893"/>
            <a:ext cx="1543050" cy="349247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68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91201" y="122590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1361" y="88049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4231" y="8745185"/>
            <a:ext cx="474519" cy="377808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240321" y="546551"/>
            <a:ext cx="62725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ген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 57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276935" y="1096466"/>
            <a:ext cx="386997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07065E4-A2A8-4BB6-A900-25129225ED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2863806"/>
              </p:ext>
            </p:extLst>
          </p:nvPr>
        </p:nvGraphicFramePr>
        <p:xfrm>
          <a:off x="1160318" y="1522730"/>
          <a:ext cx="4269325" cy="243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2D142-394F-4DBB-BECC-FFC8873F2DF8}"/>
              </a:ext>
            </a:extLst>
          </p:cNvPr>
          <p:cNvSpPr/>
          <p:nvPr/>
        </p:nvSpPr>
        <p:spPr>
          <a:xfrm>
            <a:off x="1014325" y="4808689"/>
            <a:ext cx="482934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лер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AF58E0-7466-4155-8667-D489261AB467}"/>
              </a:ext>
            </a:extLst>
          </p:cNvPr>
          <p:cNvSpPr/>
          <p:nvPr/>
        </p:nvSpPr>
        <p:spPr>
          <a:xfrm>
            <a:off x="240322" y="4182289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252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5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202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сінш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,6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0,4%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AC9A331-6378-424D-9157-35FCDB3DE2F6}"/>
              </a:ext>
            </a:extLst>
          </p:cNvPr>
          <p:cNvGrpSpPr/>
          <p:nvPr/>
        </p:nvGrpSpPr>
        <p:grpSpPr>
          <a:xfrm>
            <a:off x="240322" y="5390005"/>
            <a:ext cx="6109319" cy="2362373"/>
            <a:chOff x="3311732" y="4225108"/>
            <a:chExt cx="5049484" cy="1952625"/>
          </a:xfrm>
        </p:grpSpPr>
        <p:graphicFrame>
          <p:nvGraphicFramePr>
            <p:cNvPr id="22" name="Диаграмма 21">
              <a:extLst>
                <a:ext uri="{FF2B5EF4-FFF2-40B4-BE49-F238E27FC236}">
                  <a16:creationId xmlns:a16="http://schemas.microsoft.com/office/drawing/2014/main" id="{E5ABB89F-7E19-48F8-90C8-92619601C29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502731240"/>
                </p:ext>
              </p:extLst>
            </p:nvPr>
          </p:nvGraphicFramePr>
          <p:xfrm>
            <a:off x="3311732" y="4225108"/>
            <a:ext cx="5049484" cy="19526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4C869F5-44C6-4300-B092-311C0C674BD6}"/>
                </a:ext>
              </a:extLst>
            </p:cNvPr>
            <p:cNvSpPr txBox="1"/>
            <p:nvPr/>
          </p:nvSpPr>
          <p:spPr>
            <a:xfrm>
              <a:off x="4577914" y="5010222"/>
              <a:ext cx="602569" cy="382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751 млрд.</a:t>
              </a:r>
            </a:p>
            <a:p>
              <a:pPr algn="ctr"/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тенге</a:t>
              </a:r>
              <a:endParaRPr lang="ru-KZ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5493D8-7E21-488B-85AC-AB4539198671}"/>
              </a:ext>
            </a:extLst>
          </p:cNvPr>
          <p:cNvSpPr/>
          <p:nvPr/>
        </p:nvSpPr>
        <p:spPr>
          <a:xfrm>
            <a:off x="240321" y="776047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5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635,2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0B41756A-34B5-4425-8256-48593152B7DB}"/>
              </a:ext>
            </a:extLst>
          </p:cNvPr>
          <p:cNvCxnSpPr>
            <a:cxnSpLocks/>
          </p:cNvCxnSpPr>
          <p:nvPr/>
        </p:nvCxnSpPr>
        <p:spPr>
          <a:xfrm flipV="1">
            <a:off x="-8487" y="4530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865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204420" y="150084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6980" y="8805862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24401" y="8748101"/>
            <a:ext cx="779319" cy="38100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0" y="789721"/>
            <a:ext cx="661767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</a:t>
            </a:r>
            <a:r>
              <a:rPr lang="ru-RU" sz="105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9EE56637-F5BC-4836-B0EB-15469B118C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237065"/>
              </p:ext>
            </p:extLst>
          </p:nvPr>
        </p:nvGraphicFramePr>
        <p:xfrm>
          <a:off x="328245" y="1221553"/>
          <a:ext cx="5648502" cy="578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EC125A-5870-4E8D-9AFF-C91AE9CA4C32}"/>
              </a:ext>
            </a:extLst>
          </p:cNvPr>
          <p:cNvSpPr/>
          <p:nvPr/>
        </p:nvSpPr>
        <p:spPr>
          <a:xfrm>
            <a:off x="240322" y="7362318"/>
            <a:ext cx="63773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кіст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лысы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82,7 млрд.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4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лмат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8,3 млрд.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1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ді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2304F35-44BC-4E18-827D-61915D85BFA7}"/>
              </a:ext>
            </a:extLst>
          </p:cNvPr>
          <p:cNvCxnSpPr>
            <a:cxnSpLocks/>
          </p:cNvCxnSpPr>
          <p:nvPr/>
        </p:nvCxnSpPr>
        <p:spPr>
          <a:xfrm flipV="1">
            <a:off x="0" y="51122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390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F27D134-7E75-49BA-9A53-89E9B0A18811}"/>
              </a:ext>
            </a:extLst>
          </p:cNvPr>
          <p:cNvSpPr/>
          <p:nvPr/>
        </p:nvSpPr>
        <p:spPr>
          <a:xfrm>
            <a:off x="11339" y="813296"/>
            <a:ext cx="1887770" cy="83307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9127" y="7547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DBB98F6-E547-4E26-A666-62E54F2BFD5E}"/>
              </a:ext>
            </a:extLst>
          </p:cNvPr>
          <p:cNvSpPr/>
          <p:nvPr/>
        </p:nvSpPr>
        <p:spPr>
          <a:xfrm>
            <a:off x="1899108" y="832041"/>
            <a:ext cx="4735361" cy="2427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ытқ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қан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ғастырған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юджет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гедекті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рдемақ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циналық-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раптам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өлімшес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ежес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0% - дан 100% 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үкі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іле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еж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стыру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тер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01.01.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.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8,5% 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01.07.2023 ж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4,5% 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92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шы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сер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5F934A-F704-46C0-AEC9-A75505E43142}"/>
              </a:ext>
            </a:extLst>
          </p:cNvPr>
          <p:cNvSpPr/>
          <p:nvPr/>
        </p:nvSpPr>
        <p:spPr>
          <a:xfrm>
            <a:off x="2397115" y="3748089"/>
            <a:ext cx="338943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A9F724DC-A61A-4280-9254-8E7B046A2A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849897"/>
              </p:ext>
            </p:extLst>
          </p:nvPr>
        </p:nvGraphicFramePr>
        <p:xfrm>
          <a:off x="2273443" y="4079082"/>
          <a:ext cx="3947161" cy="186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49AB6E5-C541-455E-86E0-4705116B52B7}"/>
              </a:ext>
            </a:extLst>
          </p:cNvPr>
          <p:cNvSpPr/>
          <p:nvPr/>
        </p:nvSpPr>
        <p:spPr>
          <a:xfrm>
            <a:off x="1938640" y="5948665"/>
            <a:ext cx="4695830" cy="763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,7 млр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6,9% -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05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4,5 млр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F228AD7-DCEC-4656-9530-CC427F242C7C}"/>
              </a:ext>
            </a:extLst>
          </p:cNvPr>
          <p:cNvSpPr/>
          <p:nvPr/>
        </p:nvSpPr>
        <p:spPr>
          <a:xfrm>
            <a:off x="68489" y="461502"/>
            <a:ext cx="67781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 ҚАБІЛЕТТІЛІГІНЕН АЙЫРЫЛУ ЖАҒДАЙЫ БОЙЫНША ӘЛЕУМЕТТІК ТӨЛЕМ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5E21C9A7-69BB-4142-818F-22912793CDC9}"/>
              </a:ext>
            </a:extLst>
          </p:cNvPr>
          <p:cNvCxnSpPr>
            <a:cxnSpLocks/>
          </p:cNvCxnSpPr>
          <p:nvPr/>
        </p:nvCxnSpPr>
        <p:spPr>
          <a:xfrm flipV="1">
            <a:off x="11339" y="4114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D5F48C7-2E7D-4125-A587-81D76FA9B1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2327" y="1077359"/>
            <a:ext cx="872065" cy="1247248"/>
          </a:xfrm>
          <a:prstGeom prst="rect">
            <a:avLst/>
          </a:prstGeo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27FEB48C-ABD1-477B-AFF0-8FD00FBF64BC}"/>
              </a:ext>
            </a:extLst>
          </p:cNvPr>
          <p:cNvSpPr/>
          <p:nvPr/>
        </p:nvSpPr>
        <p:spPr>
          <a:xfrm>
            <a:off x="3145775" y="6659969"/>
            <a:ext cx="277672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Диаграмма 44">
            <a:extLst>
              <a:ext uri="{FF2B5EF4-FFF2-40B4-BE49-F238E27FC236}">
                <a16:creationId xmlns:a16="http://schemas.microsoft.com/office/drawing/2014/main" id="{9C44777A-9741-4B0C-A928-0985D733EF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821133"/>
              </p:ext>
            </p:extLst>
          </p:nvPr>
        </p:nvGraphicFramePr>
        <p:xfrm>
          <a:off x="2657711" y="6761648"/>
          <a:ext cx="3752850" cy="1815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EF669A5-0CEC-4A65-9AC0-CF10A6A02CE0}"/>
              </a:ext>
            </a:extLst>
          </p:cNvPr>
          <p:cNvSpPr/>
          <p:nvPr/>
        </p:nvSpPr>
        <p:spPr>
          <a:xfrm>
            <a:off x="1929307" y="8407352"/>
            <a:ext cx="46656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р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рд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5-16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г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E11F5F-EFF6-4EE1-AFE4-F4ABC469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91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61F9D85-149D-40F0-9C78-3C68A2A7E498}"/>
              </a:ext>
            </a:extLst>
          </p:cNvPr>
          <p:cNvGrpSpPr/>
          <p:nvPr/>
        </p:nvGrpSpPr>
        <p:grpSpPr>
          <a:xfrm>
            <a:off x="132123" y="2808457"/>
            <a:ext cx="1676401" cy="5655394"/>
            <a:chOff x="165271" y="2854237"/>
            <a:chExt cx="1676401" cy="565539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F063B361-0D9D-44CD-9ED7-38B34C855A45}"/>
                </a:ext>
              </a:extLst>
            </p:cNvPr>
            <p:cNvSpPr/>
            <p:nvPr/>
          </p:nvSpPr>
          <p:spPr>
            <a:xfrm>
              <a:off x="165271" y="2854237"/>
              <a:ext cx="1676401" cy="56553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Алушылар</a:t>
              </a:r>
              <a:r>
                <a:rPr lang="ru-RU" sz="105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саны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00 248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адам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just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Жаң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ғайындаулар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саны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 962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ам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өлем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көлемі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8,7 млрд.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ӘТ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ғайындау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кезеңде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ескерілген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айлық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быс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0 мың.тен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өлемні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мөлшері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7 445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Алушыны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жасы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1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с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Қатысуды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еңбек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өтілі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5 ай</a:t>
              </a:r>
              <a:endParaRPr lang="ru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2AFD9510-FBF1-47A3-8FB9-3F0D7FD6241F}"/>
                </a:ext>
              </a:extLst>
            </p:cNvPr>
            <p:cNvCxnSpPr/>
            <p:nvPr/>
          </p:nvCxnSpPr>
          <p:spPr>
            <a:xfrm>
              <a:off x="365760" y="354518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9967DC9-CE7F-48EF-BCC7-67356FF7F5E8}"/>
                </a:ext>
              </a:extLst>
            </p:cNvPr>
            <p:cNvCxnSpPr/>
            <p:nvPr/>
          </p:nvCxnSpPr>
          <p:spPr>
            <a:xfrm>
              <a:off x="365760" y="437195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F1EEA254-1311-46E7-98B3-CD9934EACF92}"/>
                </a:ext>
              </a:extLst>
            </p:cNvPr>
            <p:cNvCxnSpPr/>
            <p:nvPr/>
          </p:nvCxnSpPr>
          <p:spPr>
            <a:xfrm>
              <a:off x="365760" y="503489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5829051D-7B43-47FF-AA43-057B936847F4}"/>
                </a:ext>
              </a:extLst>
            </p:cNvPr>
            <p:cNvCxnSpPr/>
            <p:nvPr/>
          </p:nvCxnSpPr>
          <p:spPr>
            <a:xfrm>
              <a:off x="365760" y="613217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E95ECF0-C5BD-44B1-A695-80E0B4BE5A39}"/>
                </a:ext>
              </a:extLst>
            </p:cNvPr>
            <p:cNvCxnSpPr/>
            <p:nvPr/>
          </p:nvCxnSpPr>
          <p:spPr>
            <a:xfrm>
              <a:off x="365760" y="698942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9F372479-1000-4B79-A477-45B2FD0359E4}"/>
                </a:ext>
              </a:extLst>
            </p:cNvPr>
            <p:cNvCxnSpPr/>
            <p:nvPr/>
          </p:nvCxnSpPr>
          <p:spPr>
            <a:xfrm>
              <a:off x="365760" y="775523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1869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3C0FEFD-2C31-4F67-A725-11014549896F}"/>
              </a:ext>
            </a:extLst>
          </p:cNvPr>
          <p:cNvSpPr/>
          <p:nvPr/>
        </p:nvSpPr>
        <p:spPr>
          <a:xfrm>
            <a:off x="265020" y="751923"/>
            <a:ext cx="645079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6041371"/>
              </p:ext>
            </p:extLst>
          </p:nvPr>
        </p:nvGraphicFramePr>
        <p:xfrm>
          <a:off x="927661" y="1089376"/>
          <a:ext cx="4949707" cy="196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344A5E2-FA25-4CEF-BB09-470B6BA2F02F}"/>
              </a:ext>
            </a:extLst>
          </p:cNvPr>
          <p:cNvSpPr/>
          <p:nvPr/>
        </p:nvSpPr>
        <p:spPr>
          <a:xfrm>
            <a:off x="265020" y="2999992"/>
            <a:ext cx="625908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1-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е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т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б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54,2%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0% - дан 60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20ACD4C-7F60-4328-AA6A-FA55D3C907C2}"/>
              </a:ext>
            </a:extLst>
          </p:cNvPr>
          <p:cNvSpPr/>
          <p:nvPr/>
        </p:nvSpPr>
        <p:spPr>
          <a:xfrm>
            <a:off x="164621" y="3558738"/>
            <a:ext cx="66515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ыны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(2023 </a:t>
            </a:r>
            <a:r>
              <a:rPr lang="ru-RU" sz="1050" i="1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D297D9-AC17-400E-AF89-F975A92BD8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939843"/>
              </p:ext>
            </p:extLst>
          </p:nvPr>
        </p:nvGraphicFramePr>
        <p:xfrm>
          <a:off x="1421328" y="3617278"/>
          <a:ext cx="4138177" cy="195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7063FF8-A2EF-4D31-A892-B99272C13430}"/>
              </a:ext>
            </a:extLst>
          </p:cNvPr>
          <p:cNvSpPr/>
          <p:nvPr/>
        </p:nvSpPr>
        <p:spPr>
          <a:xfrm>
            <a:off x="217621" y="5441753"/>
            <a:ext cx="63391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н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100 24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9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 462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1% -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40 786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радация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64,4%) 50-6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F3EDD7-F084-4D1F-BD9B-31C9847CCCF0}"/>
              </a:ext>
            </a:extLst>
          </p:cNvPr>
          <p:cNvSpPr/>
          <p:nvPr/>
        </p:nvSpPr>
        <p:spPr>
          <a:xfrm>
            <a:off x="232928" y="8278951"/>
            <a:ext cx="63391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5,2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37 90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п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47 445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80% - дан 100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67 74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0A2FF93-BCEA-4B03-9268-47E15577F34C}"/>
              </a:ext>
            </a:extLst>
          </p:cNvPr>
          <p:cNvSpPr/>
          <p:nvPr/>
        </p:nvSpPr>
        <p:spPr>
          <a:xfrm>
            <a:off x="106042" y="5994805"/>
            <a:ext cx="656233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4032417"/>
              </p:ext>
            </p:extLst>
          </p:nvPr>
        </p:nvGraphicFramePr>
        <p:xfrm>
          <a:off x="1609007" y="6244168"/>
          <a:ext cx="3950498" cy="2073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ject 8">
            <a:extLst>
              <a:ext uri="{FF2B5EF4-FFF2-40B4-BE49-F238E27FC236}">
                <a16:creationId xmlns:a16="http://schemas.microsoft.com/office/drawing/2014/main" id="{B7B29BC7-57E5-4F07-B058-3EA8364F4AB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3CDE42A-1BC3-4A1B-85A1-53F81204234B}"/>
              </a:ext>
            </a:extLst>
          </p:cNvPr>
          <p:cNvSpPr/>
          <p:nvPr/>
        </p:nvSpPr>
        <p:spPr>
          <a:xfrm>
            <a:off x="0" y="484312"/>
            <a:ext cx="6926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 ҚАБІЛЕТТІЛІГІНЕН АЙЫРЫЛУ ЖАҒДАЙЫ БОЙЫНША ӘЛЕУМЕТТІК ТӨЛЕМ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8E83374-AEAA-486B-9A7A-4BCC1DB9D005}"/>
              </a:ext>
            </a:extLst>
          </p:cNvPr>
          <p:cNvCxnSpPr>
            <a:cxnSpLocks/>
          </p:cNvCxnSpPr>
          <p:nvPr/>
        </p:nvCxnSpPr>
        <p:spPr>
          <a:xfrm flipV="1">
            <a:off x="-2179" y="39384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28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394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B896BB9-8EAA-42CF-8531-ED5D83DC1700}"/>
              </a:ext>
            </a:extLst>
          </p:cNvPr>
          <p:cNvSpPr/>
          <p:nvPr/>
        </p:nvSpPr>
        <p:spPr>
          <a:xfrm>
            <a:off x="1931618" y="768577"/>
            <a:ext cx="4669801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юджет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рдемақ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от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йында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к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н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б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шелер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оны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ті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ну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ны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у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т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нд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ілг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т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т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60%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0,6)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кер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б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шелеріне-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indent="180975" algn="just">
              <a:buFontTx/>
              <a:buChar char="-"/>
            </a:pP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гер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геде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с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п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йынды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лер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йындыла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ле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-еге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дың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лар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мас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ларын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имент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с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рта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ар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ат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ит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н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қ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тір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ытқ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а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3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.</a:t>
            </a:r>
          </a:p>
          <a:p>
            <a:pPr indent="180975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ге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от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к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ны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уырл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уме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налысс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бай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ж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еу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1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басын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01.01.2023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.баста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8,5% –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01.07.2023 ж. бастап-14,5% -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  <a:endParaRPr lang="ru-RU" sz="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8C536D6-6BDB-4752-B266-92EB4E756C4C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12BFA38-C985-41B6-82D3-BE45D6828C43}"/>
              </a:ext>
            </a:extLst>
          </p:cNvPr>
          <p:cNvSpPr/>
          <p:nvPr/>
        </p:nvSpPr>
        <p:spPr>
          <a:xfrm>
            <a:off x="0" y="4454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 АЙРЫЛУ ЖАҒДАЙЫ БОЙЫНША ӘЛЕУМЕТТІК ТӨЛЕМ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CBC585F-20C7-419F-97B4-AC451A883E2D}"/>
              </a:ext>
            </a:extLst>
          </p:cNvPr>
          <p:cNvCxnSpPr>
            <a:cxnSpLocks/>
          </p:cNvCxnSpPr>
          <p:nvPr/>
        </p:nvCxnSpPr>
        <p:spPr>
          <a:xfrm flipV="1">
            <a:off x="7152" y="37840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28F98593-C7BA-460C-A7DE-CA3D45AD98C7}"/>
              </a:ext>
            </a:extLst>
          </p:cNvPr>
          <p:cNvSpPr/>
          <p:nvPr/>
        </p:nvSpPr>
        <p:spPr>
          <a:xfrm>
            <a:off x="21244" y="783585"/>
            <a:ext cx="1982460" cy="8360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4 271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968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і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,8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2 мың. тең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лш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 574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н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6 ай</a:t>
            </a:r>
            <a:endParaRPr lang="ru-KZ" sz="105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C300767-C5D5-4BE4-BF68-EA073F5778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502866" y="1109703"/>
            <a:ext cx="796902" cy="1077710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725B6430-F649-433A-9196-2043DF80CE58}"/>
              </a:ext>
            </a:extLst>
          </p:cNvPr>
          <p:cNvSpPr/>
          <p:nvPr/>
        </p:nvSpPr>
        <p:spPr>
          <a:xfrm>
            <a:off x="2351326" y="5996121"/>
            <a:ext cx="37777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сомалар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46" name="Диаграмма 45">
            <a:extLst>
              <a:ext uri="{FF2B5EF4-FFF2-40B4-BE49-F238E27FC236}">
                <a16:creationId xmlns:a16="http://schemas.microsoft.com/office/drawing/2014/main" id="{0F202862-A539-4EF7-B507-2AEFA9BDE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0703342"/>
              </p:ext>
            </p:extLst>
          </p:nvPr>
        </p:nvGraphicFramePr>
        <p:xfrm>
          <a:off x="2428482" y="6256490"/>
          <a:ext cx="3777755" cy="1960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268B27E-BEAC-4F7D-9446-6A09D691F723}"/>
              </a:ext>
            </a:extLst>
          </p:cNvPr>
          <p:cNvSpPr/>
          <p:nvPr/>
        </p:nvSpPr>
        <p:spPr>
          <a:xfrm>
            <a:off x="2003705" y="8354018"/>
            <a:ext cx="456854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0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қ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ізілген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30,6 млрд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17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3385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DB2ACFB-0E7B-4E31-BBDA-F9B21D0974E7}"/>
              </a:ext>
            </a:extLst>
          </p:cNvPr>
          <p:cNvCxnSpPr>
            <a:cxnSpLocks/>
          </p:cNvCxnSpPr>
          <p:nvPr/>
        </p:nvCxnSpPr>
        <p:spPr>
          <a:xfrm>
            <a:off x="344042" y="31565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AE2CC8E4-7D9A-4761-A42A-A122855011DB}"/>
              </a:ext>
            </a:extLst>
          </p:cNvPr>
          <p:cNvCxnSpPr>
            <a:cxnSpLocks/>
          </p:cNvCxnSpPr>
          <p:nvPr/>
        </p:nvCxnSpPr>
        <p:spPr>
          <a:xfrm>
            <a:off x="344042" y="39680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6D74113-386F-4112-A847-CBF13C4D798A}"/>
              </a:ext>
            </a:extLst>
          </p:cNvPr>
          <p:cNvCxnSpPr>
            <a:cxnSpLocks/>
          </p:cNvCxnSpPr>
          <p:nvPr/>
        </p:nvCxnSpPr>
        <p:spPr>
          <a:xfrm>
            <a:off x="344042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1437D45-D636-4236-B96E-36AEC60522CA}"/>
              </a:ext>
            </a:extLst>
          </p:cNvPr>
          <p:cNvCxnSpPr>
            <a:cxnSpLocks/>
          </p:cNvCxnSpPr>
          <p:nvPr/>
        </p:nvCxnSpPr>
        <p:spPr>
          <a:xfrm>
            <a:off x="344042" y="577397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141BD7B-66B8-4361-9F1E-4B4B6AFAA8CD}"/>
              </a:ext>
            </a:extLst>
          </p:cNvPr>
          <p:cNvCxnSpPr>
            <a:cxnSpLocks/>
          </p:cNvCxnSpPr>
          <p:nvPr/>
        </p:nvCxnSpPr>
        <p:spPr>
          <a:xfrm>
            <a:off x="344042" y="66197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7A6E076-6ECA-421E-B6CD-2FDF682FEE5E}"/>
              </a:ext>
            </a:extLst>
          </p:cNvPr>
          <p:cNvCxnSpPr>
            <a:cxnSpLocks/>
          </p:cNvCxnSpPr>
          <p:nvPr/>
        </p:nvCxnSpPr>
        <p:spPr>
          <a:xfrm>
            <a:off x="344042" y="73856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474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3ED4221-2858-4FF7-9860-B58C533B6253}"/>
              </a:ext>
            </a:extLst>
          </p:cNvPr>
          <p:cNvSpPr/>
          <p:nvPr/>
        </p:nvSpPr>
        <p:spPr>
          <a:xfrm>
            <a:off x="99654" y="865905"/>
            <a:ext cx="65526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Диаграмма 40">
            <a:extLst>
              <a:ext uri="{FF2B5EF4-FFF2-40B4-BE49-F238E27FC236}">
                <a16:creationId xmlns:a16="http://schemas.microsoft.com/office/drawing/2014/main" id="{50A7EF82-0DF5-4A25-9BF5-2C3C9E8B1F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3712436"/>
              </p:ext>
            </p:extLst>
          </p:nvPr>
        </p:nvGraphicFramePr>
        <p:xfrm>
          <a:off x="1094391" y="1291367"/>
          <a:ext cx="4300775" cy="2080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3FAECCE-B0C1-4C41-A898-312C0745AEA9}"/>
              </a:ext>
            </a:extLst>
          </p:cNvPr>
          <p:cNvSpPr/>
          <p:nvPr/>
        </p:nvSpPr>
        <p:spPr>
          <a:xfrm>
            <a:off x="278986" y="3478293"/>
            <a:ext cx="58956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Жаа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53,7%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C1BEC2E-3F5D-4D77-AC5E-089B0C8124DE}"/>
              </a:ext>
            </a:extLst>
          </p:cNvPr>
          <p:cNvSpPr/>
          <p:nvPr/>
        </p:nvSpPr>
        <p:spPr>
          <a:xfrm>
            <a:off x="780093" y="4608028"/>
            <a:ext cx="519172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ін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FB8FC09-0D74-4FA6-9B04-C0B2CAF126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2192931"/>
              </p:ext>
            </p:extLst>
          </p:nvPr>
        </p:nvGraphicFramePr>
        <p:xfrm>
          <a:off x="1262839" y="5023526"/>
          <a:ext cx="4202198" cy="2417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1361229-FA80-4925-867D-310D23DFB3A3}"/>
              </a:ext>
            </a:extLst>
          </p:cNvPr>
          <p:cNvSpPr/>
          <p:nvPr/>
        </p:nvSpPr>
        <p:spPr>
          <a:xfrm>
            <a:off x="383225" y="7524213"/>
            <a:ext cx="6195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а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1 57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6,2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40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854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алыптасты-80 78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FB1B024-B1C3-408B-A960-B96E4A8DF6A3}"/>
              </a:ext>
            </a:extLst>
          </p:cNvPr>
          <p:cNvSpPr/>
          <p:nvPr/>
        </p:nvSpPr>
        <p:spPr>
          <a:xfrm>
            <a:off x="278987" y="3701021"/>
            <a:ext cx="61957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тындығ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әмелет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а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с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ы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жағдайда-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ACDD819E-5DE4-435F-862F-ADD4E2D0FDF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23DD733-F1FF-4248-BAE8-4C567F248259}"/>
              </a:ext>
            </a:extLst>
          </p:cNvPr>
          <p:cNvSpPr/>
          <p:nvPr/>
        </p:nvSpPr>
        <p:spPr>
          <a:xfrm>
            <a:off x="7152" y="542096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 АЙЫРЫЛУ ЖАҒДАЙЫ БОЙЫНША ӘЛЕУМЕТТІК ТӨЛЕМ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1D701F5-B936-4B79-AD96-3603F8EB5CC7}"/>
              </a:ext>
            </a:extLst>
          </p:cNvPr>
          <p:cNvCxnSpPr>
            <a:cxnSpLocks/>
          </p:cNvCxnSpPr>
          <p:nvPr/>
        </p:nvCxnSpPr>
        <p:spPr>
          <a:xfrm flipV="1">
            <a:off x="-4278" y="39768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E246863-EE22-46C9-A797-2EECA3CE9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3234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420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289819" y="136653"/>
            <a:ext cx="583077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змұны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0510370"/>
              </p:ext>
            </p:extLst>
          </p:nvPr>
        </p:nvGraphicFramePr>
        <p:xfrm>
          <a:off x="313422" y="693180"/>
          <a:ext cx="6193704" cy="6649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810931">
                  <a:extLst>
                    <a:ext uri="{9D8B030D-6E8A-4147-A177-3AD203B41FA5}">
                      <a16:colId xmlns:a16="http://schemas.microsoft.com/office/drawing/2014/main" val="1493308568"/>
                    </a:ext>
                  </a:extLst>
                </a:gridCol>
                <a:gridCol w="382773">
                  <a:extLst>
                    <a:ext uri="{9D8B030D-6E8A-4147-A177-3AD203B41FA5}">
                      <a16:colId xmlns:a16="http://schemas.microsoft.com/office/drawing/2014/main" val="25469226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ал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45135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қиғала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626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ректорла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ңес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рағасы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ндеу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2292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ма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рағасының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ндеу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12884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3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ғ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аму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ы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ында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42725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ылға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т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йесіме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6811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дарымда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72877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дан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де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5128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де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шімдерд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т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0848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параттық-түсіндір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та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313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аматтард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тері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39532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ап-арыз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53673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поратив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7259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аенс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қыла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байлас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мқорлыққ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с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с-қимыл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7408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жы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7595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я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25003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ып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жірибес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309714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9978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ет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Адами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д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т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26628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ара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ынтымақтастық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7431839"/>
                  </a:ext>
                </a:extLst>
              </a:tr>
            </a:tbl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D6FC985-4255-4897-9536-5358ADADF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49069" y="8680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-6" y="493177"/>
            <a:ext cx="5830775" cy="296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077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22425" y="8806815"/>
            <a:ext cx="381295" cy="314325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1989331" y="832704"/>
            <a:ext cx="448737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-да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декс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нс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ғ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ж</a:t>
            </a:r>
            <a:r>
              <a:rPr lang="kk-KZ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н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са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бептер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gov.kz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ирж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(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bek.kz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д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т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сты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45%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0,45)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лдау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ңтард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ріс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сты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40% - дан 45% -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лғайтылд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0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шылар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жол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366119" y="3507299"/>
            <a:ext cx="42691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A713A9A0-90CE-442F-B0DB-092826D2D4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4953094"/>
              </p:ext>
            </p:extLst>
          </p:nvPr>
        </p:nvGraphicFramePr>
        <p:xfrm>
          <a:off x="2184801" y="3881265"/>
          <a:ext cx="4081924" cy="2350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90A2A05-DB6A-45FA-ABB3-A1E818BA1F0C}"/>
              </a:ext>
            </a:extLst>
          </p:cNvPr>
          <p:cNvSpPr/>
          <p:nvPr/>
        </p:nvSpPr>
        <p:spPr>
          <a:xfrm>
            <a:off x="1985813" y="6289355"/>
            <a:ext cx="453828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9,9 млрд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4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уы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уаттылығ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н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сен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ықшылықт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дарлығ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і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тқ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ас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ы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м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0%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1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р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сыз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2021ж. – 450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22ж. - 458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23ж. - 446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ru-KZ" sz="1000" i="1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EB80AE68-51BB-40A1-9574-BE0E82CCC9D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C609F0A-3648-49D4-887F-998792C22CA3}"/>
              </a:ext>
            </a:extLst>
          </p:cNvPr>
          <p:cNvSpPr/>
          <p:nvPr/>
        </p:nvSpPr>
        <p:spPr>
          <a:xfrm>
            <a:off x="25907" y="4938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Н АЙЫРЫЛУ ЖАҒДАЙЫ БОЙЫНША ӘЛЕУМЕТТІК ТӨЛЕМ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518A00F-288D-410A-A5A5-37323905CD5F}"/>
              </a:ext>
            </a:extLst>
          </p:cNvPr>
          <p:cNvCxnSpPr>
            <a:cxnSpLocks/>
          </p:cNvCxnSpPr>
          <p:nvPr/>
        </p:nvCxnSpPr>
        <p:spPr>
          <a:xfrm flipV="1">
            <a:off x="7035" y="35974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EFACC83-A50C-4881-AA11-68A8C302FC12}"/>
              </a:ext>
            </a:extLst>
          </p:cNvPr>
          <p:cNvSpPr/>
          <p:nvPr/>
        </p:nvSpPr>
        <p:spPr>
          <a:xfrm>
            <a:off x="12548" y="900315"/>
            <a:ext cx="1913703" cy="8234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24 145 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: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 902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,9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0 мың. тең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лш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797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,1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">
            <a:extLst>
              <a:ext uri="{FF2B5EF4-FFF2-40B4-BE49-F238E27FC236}">
                <a16:creationId xmlns:a16="http://schemas.microsoft.com/office/drawing/2014/main" id="{B5B49FFD-DFD1-4CB5-9097-5B45A409F0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71032" y="1220369"/>
            <a:ext cx="568136" cy="121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1375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17EBB9D-47E9-430F-9A73-521DCA1D1EE4}"/>
              </a:ext>
            </a:extLst>
          </p:cNvPr>
          <p:cNvCxnSpPr>
            <a:cxnSpLocks/>
          </p:cNvCxnSpPr>
          <p:nvPr/>
        </p:nvCxnSpPr>
        <p:spPr>
          <a:xfrm>
            <a:off x="328780" y="400232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D1D4932A-F1DB-4E52-9493-1DF4DC00FAC0}"/>
              </a:ext>
            </a:extLst>
          </p:cNvPr>
          <p:cNvCxnSpPr>
            <a:cxnSpLocks/>
          </p:cNvCxnSpPr>
          <p:nvPr/>
        </p:nvCxnSpPr>
        <p:spPr>
          <a:xfrm>
            <a:off x="328780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9EE5521-067A-499F-9CF5-E1F0EA250622}"/>
              </a:ext>
            </a:extLst>
          </p:cNvPr>
          <p:cNvCxnSpPr>
            <a:cxnSpLocks/>
          </p:cNvCxnSpPr>
          <p:nvPr/>
        </p:nvCxnSpPr>
        <p:spPr>
          <a:xfrm>
            <a:off x="328780" y="57053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C80D7E0-4809-4289-84A1-676225E0C196}"/>
              </a:ext>
            </a:extLst>
          </p:cNvPr>
          <p:cNvCxnSpPr>
            <a:cxnSpLocks/>
          </p:cNvCxnSpPr>
          <p:nvPr/>
        </p:nvCxnSpPr>
        <p:spPr>
          <a:xfrm>
            <a:off x="328780" y="653978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5653B6B-8993-4DE6-9576-7C1767148EB1}"/>
              </a:ext>
            </a:extLst>
          </p:cNvPr>
          <p:cNvCxnSpPr>
            <a:cxnSpLocks/>
          </p:cNvCxnSpPr>
          <p:nvPr/>
        </p:nvCxnSpPr>
        <p:spPr>
          <a:xfrm>
            <a:off x="328780" y="736274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594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745EE2C-4ABA-4E5A-AAB0-5963F887D38F}"/>
              </a:ext>
            </a:extLst>
          </p:cNvPr>
          <p:cNvSpPr/>
          <p:nvPr/>
        </p:nvSpPr>
        <p:spPr>
          <a:xfrm>
            <a:off x="157554" y="725023"/>
            <a:ext cx="61499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лі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сіндегі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ылымы</a:t>
            </a:r>
            <a:r>
              <a:rPr lang="ru-RU" sz="105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3 </a:t>
            </a:r>
            <a:r>
              <a:rPr lang="ru-RU" sz="105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BE771A4-15D3-420E-B050-E4176416B3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164596"/>
              </p:ext>
            </p:extLst>
          </p:nvPr>
        </p:nvGraphicFramePr>
        <p:xfrm>
          <a:off x="1149078" y="963105"/>
          <a:ext cx="4635540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C1FC7EE-6CB8-48E9-A595-E19FEA2A5474}"/>
              </a:ext>
            </a:extLst>
          </p:cNvPr>
          <p:cNvSpPr/>
          <p:nvPr/>
        </p:nvSpPr>
        <p:spPr>
          <a:xfrm>
            <a:off x="307957" y="3230936"/>
            <a:ext cx="61499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д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6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тысын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б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3%)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г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6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д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9D36350-4D64-4131-859F-B6946B32FA89}"/>
              </a:ext>
            </a:extLst>
          </p:cNvPr>
          <p:cNvSpPr/>
          <p:nvPr/>
        </p:nvSpPr>
        <p:spPr>
          <a:xfrm>
            <a:off x="680484" y="3833530"/>
            <a:ext cx="51041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ыны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AA0682FC-DE1F-43B4-BC71-CBF7C54A4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1085572"/>
              </p:ext>
            </p:extLst>
          </p:nvPr>
        </p:nvGraphicFramePr>
        <p:xfrm>
          <a:off x="1149078" y="3960488"/>
          <a:ext cx="4171911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36A4A5F-D1D3-47A4-8A4F-F780C86456B7}"/>
              </a:ext>
            </a:extLst>
          </p:cNvPr>
          <p:cNvSpPr/>
          <p:nvPr/>
        </p:nvSpPr>
        <p:spPr>
          <a:xfrm>
            <a:off x="323283" y="605566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м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5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р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5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5 пен 49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р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1,7%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3,3%)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42D9521-0976-4F24-BD6C-87AD8A9BF915}"/>
              </a:ext>
            </a:extLst>
          </p:cNvPr>
          <p:cNvSpPr/>
          <p:nvPr/>
        </p:nvSpPr>
        <p:spPr>
          <a:xfrm>
            <a:off x="1497651" y="6478042"/>
            <a:ext cx="379142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5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50" b="1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C3316D1F-3469-437B-8BAA-B1B033320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6146856"/>
              </p:ext>
            </p:extLst>
          </p:nvPr>
        </p:nvGraphicFramePr>
        <p:xfrm>
          <a:off x="1346042" y="6747972"/>
          <a:ext cx="4073821" cy="1895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49A71E-EC19-4332-B46A-D3DAD2B9838B}"/>
              </a:ext>
            </a:extLst>
          </p:cNvPr>
          <p:cNvSpPr/>
          <p:nvPr/>
        </p:nvSpPr>
        <p:spPr>
          <a:xfrm>
            <a:off x="307957" y="843572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22764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 797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3,2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9D52C9CE-238B-4A3C-BB4E-3F0922ECBF77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0276350-0567-42E8-8184-ECA32785D921}"/>
              </a:ext>
            </a:extLst>
          </p:cNvPr>
          <p:cNvSpPr/>
          <p:nvPr/>
        </p:nvSpPr>
        <p:spPr>
          <a:xfrm>
            <a:off x="7152" y="41570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Н АЙЫРЫЛУ ЖАҒДАЙЫ БОЙЫНША ӘЛЕУМЕТТІК ТӨЛЕМ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1C791E1-68BF-42E1-A270-74BE2C9BED25}"/>
              </a:ext>
            </a:extLst>
          </p:cNvPr>
          <p:cNvCxnSpPr>
            <a:cxnSpLocks/>
          </p:cNvCxnSpPr>
          <p:nvPr/>
        </p:nvCxnSpPr>
        <p:spPr>
          <a:xfrm flipV="1">
            <a:off x="-4396" y="36648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4"/>
            <a:ext cx="540000" cy="25171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166E84C-AE32-412C-8EC5-03D55B6E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279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5041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2035939" y="1011504"/>
            <a:ext cx="4616322" cy="1746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малыс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дер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малыс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н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г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ңғы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2 айда МӘСҚ-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ге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ық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қ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к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амсыздық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дерінің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н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305,7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556480" y="2758549"/>
            <a:ext cx="48744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6193880-8883-4F53-9AEE-31AF98352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9934" y="5325867"/>
            <a:ext cx="463232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180975" algn="just"/>
            <a:r>
              <a:rPr lang="ru-RU" altLang="ru-KZ" sz="1000" dirty="0">
                <a:cs typeface="Arial" panose="020B0604020202020204" pitchFamily="34" charset="0"/>
              </a:rPr>
              <a:t>2023 </a:t>
            </a:r>
            <a:r>
              <a:rPr lang="ru-RU" altLang="ru-KZ" sz="1000" dirty="0" err="1">
                <a:cs typeface="Arial" panose="020B0604020202020204" pitchFamily="34" charset="0"/>
              </a:rPr>
              <a:t>жылы</a:t>
            </a:r>
            <a:r>
              <a:rPr lang="ru-RU" altLang="ru-KZ" sz="1000" dirty="0">
                <a:cs typeface="Arial" panose="020B0604020202020204" pitchFamily="34" charset="0"/>
              </a:rPr>
              <a:t> 348 млрд. </a:t>
            </a:r>
            <a:r>
              <a:rPr lang="ru-RU" altLang="ru-KZ" sz="1000" dirty="0" err="1">
                <a:cs typeface="Arial" panose="020B0604020202020204" pitchFamily="34" charset="0"/>
              </a:rPr>
              <a:t>теңге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омасына</a:t>
            </a:r>
            <a:r>
              <a:rPr lang="ru-RU" altLang="ru-KZ" sz="1000" dirty="0">
                <a:cs typeface="Arial" panose="020B0604020202020204" pitchFamily="34" charset="0"/>
              </a:rPr>
              <a:t> 288 </a:t>
            </a:r>
            <a:r>
              <a:rPr lang="ru-RU" altLang="ru-KZ" sz="1000" dirty="0" err="1">
                <a:cs typeface="Arial" panose="020B0604020202020204" pitchFamily="34" charset="0"/>
              </a:rPr>
              <a:t>мыңға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жуық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ада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төле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алды</a:t>
            </a:r>
            <a:r>
              <a:rPr lang="ru-RU" altLang="ru-KZ" sz="1000" dirty="0">
                <a:cs typeface="Arial" panose="020B0604020202020204" pitchFamily="34" charset="0"/>
              </a:rPr>
              <a:t>, </a:t>
            </a:r>
            <a:r>
              <a:rPr lang="ru-RU" altLang="ru-KZ" sz="1000" dirty="0" err="1">
                <a:cs typeface="Arial" panose="020B0604020202020204" pitchFamily="34" charset="0"/>
              </a:rPr>
              <a:t>алушылар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анының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және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төле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омасының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едәуір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шамасында</a:t>
            </a:r>
            <a:r>
              <a:rPr lang="ru-RU" altLang="ru-KZ" sz="1000" dirty="0">
                <a:cs typeface="Arial" panose="020B0604020202020204" pitchFamily="34" charset="0"/>
              </a:rPr>
              <a:t> (1,8 </a:t>
            </a:r>
            <a:r>
              <a:rPr lang="ru-RU" altLang="ru-KZ" sz="1000" dirty="0" err="1">
                <a:cs typeface="Arial" panose="020B0604020202020204" pitchFamily="34" charset="0"/>
              </a:rPr>
              <a:t>есе</a:t>
            </a:r>
            <a:r>
              <a:rPr lang="ru-RU" altLang="ru-KZ" sz="1000" dirty="0">
                <a:cs typeface="Arial" panose="020B0604020202020204" pitchFamily="34" charset="0"/>
              </a:rPr>
              <a:t>) </a:t>
            </a:r>
            <a:r>
              <a:rPr lang="ru-RU" altLang="ru-KZ" sz="1000" dirty="0" err="1">
                <a:cs typeface="Arial" panose="020B0604020202020204" pitchFamily="34" charset="0"/>
              </a:rPr>
              <a:t>өсуі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байқалады</a:t>
            </a:r>
            <a:r>
              <a:rPr lang="ru-RU" altLang="ru-KZ" sz="1000" dirty="0"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5EB6D180-9ABE-4628-A36E-9CE616591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226642"/>
              </p:ext>
            </p:extLst>
          </p:nvPr>
        </p:nvGraphicFramePr>
        <p:xfrm>
          <a:off x="2169461" y="6293103"/>
          <a:ext cx="4482800" cy="206332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707554">
                  <a:extLst>
                    <a:ext uri="{9D8B030D-6E8A-4147-A177-3AD203B41FA5}">
                      <a16:colId xmlns:a16="http://schemas.microsoft.com/office/drawing/2014/main" val="1249667677"/>
                    </a:ext>
                  </a:extLst>
                </a:gridCol>
                <a:gridCol w="794698">
                  <a:extLst>
                    <a:ext uri="{9D8B030D-6E8A-4147-A177-3AD203B41FA5}">
                      <a16:colId xmlns:a16="http://schemas.microsoft.com/office/drawing/2014/main" val="4053876194"/>
                    </a:ext>
                  </a:extLst>
                </a:gridCol>
                <a:gridCol w="812796">
                  <a:extLst>
                    <a:ext uri="{9D8B030D-6E8A-4147-A177-3AD203B41FA5}">
                      <a16:colId xmlns:a16="http://schemas.microsoft.com/office/drawing/2014/main" val="2243241817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3335031730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2903794994"/>
                    </a:ext>
                  </a:extLst>
                </a:gridCol>
              </a:tblGrid>
              <a:tr h="29346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сы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Тжб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43606"/>
                  </a:ext>
                </a:extLst>
              </a:tr>
              <a:tr h="5412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ктілікке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сануы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а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ап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6444311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5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5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26306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34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 673 </a:t>
                      </a:r>
                      <a:endParaRPr lang="ru-KZ" sz="1000" b="1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 67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6154365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-49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492 </a:t>
                      </a:r>
                      <a:endParaRPr lang="ru-KZ" sz="1000" b="1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2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479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9914612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63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836277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 51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 496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9954948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D6D38B08-5780-414F-93B0-E4EF83C4F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3741" y="5952101"/>
            <a:ext cx="4619960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85725" algn="just"/>
            <a:r>
              <a:rPr lang="ru-RU" altLang="ru-KZ" sz="1050" b="1" dirty="0" err="1">
                <a:ea typeface="Times New Roman" panose="02020603050405020304" pitchFamily="18" charset="0"/>
              </a:rPr>
              <a:t>Жас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бөлінісіндегі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төлем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алушылардың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ұрылым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i="1" dirty="0">
                <a:ea typeface="Times New Roman" panose="02020603050405020304" pitchFamily="18" charset="0"/>
              </a:rPr>
              <a:t>(2023 </a:t>
            </a:r>
            <a:r>
              <a:rPr lang="ru-RU" altLang="ru-KZ" sz="1050" b="1" i="1" dirty="0" err="1">
                <a:ea typeface="Times New Roman" panose="02020603050405020304" pitchFamily="18" charset="0"/>
              </a:rPr>
              <a:t>жыл</a:t>
            </a:r>
            <a:r>
              <a:rPr lang="ru-RU" altLang="ru-KZ" sz="1050" b="1" i="1" dirty="0">
                <a:ea typeface="Times New Roman" panose="02020603050405020304" pitchFamily="18" charset="0"/>
              </a:rPr>
              <a:t>)</a:t>
            </a:r>
            <a:endParaRPr lang="ru-RU" altLang="ru-KZ" sz="1000" i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C219DC1-ACAD-46A4-BE32-F70F1EF6B97A}"/>
              </a:ext>
            </a:extLst>
          </p:cNvPr>
          <p:cNvSpPr/>
          <p:nvPr/>
        </p:nvSpPr>
        <p:spPr>
          <a:xfrm>
            <a:off x="2348220" y="8425466"/>
            <a:ext cx="47612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жб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75% - ы 20-34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4" name="object 8">
            <a:extLst>
              <a:ext uri="{FF2B5EF4-FFF2-40B4-BE49-F238E27FC236}">
                <a16:creationId xmlns:a16="http://schemas.microsoft.com/office/drawing/2014/main" id="{E73D323F-EDC8-43F7-9CD5-B6FF57062A1A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076B8A5-A7A0-44A0-BCCB-EDCC64298E64}"/>
              </a:ext>
            </a:extLst>
          </p:cNvPr>
          <p:cNvSpPr/>
          <p:nvPr/>
        </p:nvSpPr>
        <p:spPr>
          <a:xfrm>
            <a:off x="-4395" y="402161"/>
            <a:ext cx="64507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ККЕ ЖӘНЕ БОСАНУҒА, ЖАҢА ТУҒАН БАЛАНЫ (БАЛАЛАРДЫ) АСЫРАП АЛУҒА БАЙЛАНЫСТЫ К</a:t>
            </a: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РІСІНЕН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ЫРЫЛУ ЖАҒДАЙЫ БОЙЫНША ӘЛЕУМЕТТІК ТӨЛЕМ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3D74E7D-A6AD-4770-8E6E-281C4E32E175}"/>
              </a:ext>
            </a:extLst>
          </p:cNvPr>
          <p:cNvCxnSpPr>
            <a:cxnSpLocks/>
          </p:cNvCxnSpPr>
          <p:nvPr/>
        </p:nvCxnSpPr>
        <p:spPr>
          <a:xfrm flipV="1">
            <a:off x="-4395" y="37076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5B36A31-836F-4494-8827-C7A3D023AF87}"/>
              </a:ext>
            </a:extLst>
          </p:cNvPr>
          <p:cNvSpPr/>
          <p:nvPr/>
        </p:nvSpPr>
        <p:spPr>
          <a:xfrm>
            <a:off x="0" y="1048492"/>
            <a:ext cx="1982460" cy="809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 513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72 957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kk-KZ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лем 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48,2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91 мың. 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245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тенге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,4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F32533A-D25F-489E-A5DA-77E91F2298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30" y="1326120"/>
            <a:ext cx="727998" cy="1162712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9514" y="884548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05A8ADC-06F1-462E-8F36-6212F878E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4451" y="872962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34004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261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91682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727521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584241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64903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AEAD34FE-5B58-42D5-8FD6-3C717C8BDA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0065"/>
              </p:ext>
            </p:extLst>
          </p:nvPr>
        </p:nvGraphicFramePr>
        <p:xfrm>
          <a:off x="2055931" y="2926277"/>
          <a:ext cx="4619960" cy="2399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55297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A196986-2E4A-409A-8957-9F30F53D9808}"/>
              </a:ext>
            </a:extLst>
          </p:cNvPr>
          <p:cNvSpPr/>
          <p:nvPr/>
        </p:nvSpPr>
        <p:spPr>
          <a:xfrm>
            <a:off x="1406803" y="1066658"/>
            <a:ext cx="33903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ағайындалған төлемдер динамикас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D9A9EDA2-4D06-4A86-B34A-38FEA0B7EC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3813841"/>
              </p:ext>
            </p:extLst>
          </p:nvPr>
        </p:nvGraphicFramePr>
        <p:xfrm>
          <a:off x="1287475" y="1329160"/>
          <a:ext cx="3629033" cy="1666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5">
            <a:extLst>
              <a:ext uri="{FF2B5EF4-FFF2-40B4-BE49-F238E27FC236}">
                <a16:creationId xmlns:a16="http://schemas.microsoft.com/office/drawing/2014/main" id="{EA46CAA6-1C3F-4267-881B-312CC0E9C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061" y="4006799"/>
            <a:ext cx="6347581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Жұмыс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берушілердің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саны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бойынша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төлес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алушылардың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үлесі</a:t>
            </a:r>
            <a:endParaRPr lang="ru-RU" altLang="ru-KZ" sz="1050" dirty="0">
              <a:latin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1AE030-AFC6-4749-A098-F6822E2FDC91}"/>
              </a:ext>
            </a:extLst>
          </p:cNvPr>
          <p:cNvSpPr/>
          <p:nvPr/>
        </p:nvSpPr>
        <p:spPr>
          <a:xfrm>
            <a:off x="4749556" y="4494758"/>
            <a:ext cx="180326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97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лерд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Ә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ыз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мақ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5164AF-11DC-4B21-9A43-478BC8A092D9}"/>
              </a:ext>
            </a:extLst>
          </p:cNvPr>
          <p:cNvSpPr/>
          <p:nvPr/>
        </p:nvSpPr>
        <p:spPr>
          <a:xfrm>
            <a:off x="1503615" y="6244791"/>
            <a:ext cx="43188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сы</a:t>
            </a:r>
            <a:endParaRPr lang="ru-K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E7C807C8-4CD8-4E7C-B5E6-1EC690FD39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5651842"/>
              </p:ext>
            </p:extLst>
          </p:nvPr>
        </p:nvGraphicFramePr>
        <p:xfrm>
          <a:off x="1457451" y="6507293"/>
          <a:ext cx="3651315" cy="1664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FE6D584-5F0F-4B2D-B2F3-27C71951EF63}"/>
              </a:ext>
            </a:extLst>
          </p:cNvPr>
          <p:cNvSpPr/>
          <p:nvPr/>
        </p:nvSpPr>
        <p:spPr>
          <a:xfrm>
            <a:off x="354357" y="8101970"/>
            <a:ext cx="60974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 244 81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3,6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810 5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-ден 2 миллио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44,9%), 500 00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5,3%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Ә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жб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87BDE703-55A0-4D18-995D-55E643C7882E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84FF359-3208-4BFB-8FD2-A715CD86AA64}"/>
              </a:ext>
            </a:extLst>
          </p:cNvPr>
          <p:cNvSpPr/>
          <p:nvPr/>
        </p:nvSpPr>
        <p:spPr>
          <a:xfrm>
            <a:off x="7152" y="380522"/>
            <a:ext cx="64507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ККЕ ЖӘНЕ БОСАНУҒА, ЖАҢА ТУҒАН БАЛАНЫ (БАЛАЛАРДЫ) АСЫРАП АЛУҒА БАЙЛАНЫСТЫ КІРІСІНЕН АЙЫРЫЛУ ЖАҒДАЙЫ БОЙЫНША ӘЛЕУМЕТТІК ТӨЛЕМ  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04F749E-FC05-4279-97CE-20F81549EA84}"/>
              </a:ext>
            </a:extLst>
          </p:cNvPr>
          <p:cNvCxnSpPr>
            <a:cxnSpLocks/>
          </p:cNvCxnSpPr>
          <p:nvPr/>
        </p:nvCxnSpPr>
        <p:spPr>
          <a:xfrm flipV="1">
            <a:off x="0" y="36808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86255A-4817-4258-9865-EE4780E3F07D}"/>
              </a:ext>
            </a:extLst>
          </p:cNvPr>
          <p:cNvSpPr/>
          <p:nvPr/>
        </p:nvSpPr>
        <p:spPr>
          <a:xfrm>
            <a:off x="354357" y="2734107"/>
            <a:ext cx="61492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7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ңнама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лер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йдасын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ақ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ЕТЖ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пайт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ылдан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йін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нақт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7ECF32-B21D-44CC-B54C-3E669FF24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390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D9C804F8-C3C7-4F3B-8B49-5039DA0B0B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486457"/>
              </p:ext>
            </p:extLst>
          </p:nvPr>
        </p:nvGraphicFramePr>
        <p:xfrm>
          <a:off x="354357" y="4294917"/>
          <a:ext cx="4494637" cy="1949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147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753674" y="3175543"/>
            <a:ext cx="48744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F09FD9-4DEC-44DD-AA0D-BB728D660909}"/>
              </a:ext>
            </a:extLst>
          </p:cNvPr>
          <p:cNvSpPr/>
          <p:nvPr/>
        </p:nvSpPr>
        <p:spPr>
          <a:xfrm>
            <a:off x="1975365" y="949939"/>
            <a:ext cx="462367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ылған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на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ым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қа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гі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ла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не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г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0% -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шыс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псырмас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,5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лғайты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қсат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л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ы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1.01.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қ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)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47,9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ғ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уық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ғ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зарты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6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324,5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ытт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699CC4BB-EFBE-4A91-A5EC-4D52453D8B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8765351"/>
              </p:ext>
            </p:extLst>
          </p:nvPr>
        </p:nvGraphicFramePr>
        <p:xfrm>
          <a:off x="2345522" y="3628785"/>
          <a:ext cx="4105276" cy="2111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7E2885-EFCB-4731-99C0-225B52C5C45B}"/>
              </a:ext>
            </a:extLst>
          </p:cNvPr>
          <p:cNvSpPr/>
          <p:nvPr/>
        </p:nvSpPr>
        <p:spPr>
          <a:xfrm>
            <a:off x="2028588" y="5968457"/>
            <a:ext cx="457045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75 69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,0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ді,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а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де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ісінш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0,4%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3,3%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і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67% 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0% -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ңнама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ындай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кем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ма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і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к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60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3% (7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кізіл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рд.тең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172FE83-8C8B-4DB9-B23F-203B63F6149F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A96CD06D-ACBA-4FB8-8037-4A1141DAC9D5}"/>
              </a:ext>
            </a:extLst>
          </p:cNvPr>
          <p:cNvSpPr/>
          <p:nvPr/>
        </p:nvSpPr>
        <p:spPr>
          <a:xfrm>
            <a:off x="0" y="466650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НА ӘЛЕУМЕТТІК ТӨЛЕМ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1CD6C69-DE8C-4DF4-B446-FA34226F4559}"/>
              </a:ext>
            </a:extLst>
          </p:cNvPr>
          <p:cNvCxnSpPr>
            <a:cxnSpLocks/>
          </p:cNvCxnSpPr>
          <p:nvPr/>
        </p:nvCxnSpPr>
        <p:spPr>
          <a:xfrm flipV="1">
            <a:off x="0" y="39740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AD1A43B8-C520-44CB-9315-B56D02FA8582}"/>
              </a:ext>
            </a:extLst>
          </p:cNvPr>
          <p:cNvSpPr/>
          <p:nvPr/>
        </p:nvSpPr>
        <p:spPr>
          <a:xfrm>
            <a:off x="16" y="977807"/>
            <a:ext cx="1982460" cy="81523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75 695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2 708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kk-KZ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лем 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,0 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64 мың 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лш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8 957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0,9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30E2DB6-69DD-45A7-8DE6-367182C12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702" y="1536405"/>
            <a:ext cx="767317" cy="966136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470343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429579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493968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72866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281137" y="586527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6547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7713" y="8840071"/>
            <a:ext cx="547437" cy="20912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565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BE29729-DC04-4085-A26B-C2A3ACBA99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4522146"/>
              </p:ext>
            </p:extLst>
          </p:nvPr>
        </p:nvGraphicFramePr>
        <p:xfrm>
          <a:off x="543211" y="1409896"/>
          <a:ext cx="5771573" cy="2539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E11E39-56E4-4C74-90A2-8CD23824CF35}"/>
              </a:ext>
            </a:extLst>
          </p:cNvPr>
          <p:cNvSpPr/>
          <p:nvPr/>
        </p:nvSpPr>
        <p:spPr>
          <a:xfrm>
            <a:off x="296094" y="1106460"/>
            <a:ext cx="542263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6FB191-ADE5-4F66-A768-C63D0787B94A}"/>
              </a:ext>
            </a:extLst>
          </p:cNvPr>
          <p:cNvSpPr/>
          <p:nvPr/>
        </p:nvSpPr>
        <p:spPr>
          <a:xfrm>
            <a:off x="234373" y="3969208"/>
            <a:ext cx="62553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2% -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FD783DEC-AC41-4186-A6EE-8736949D52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474069"/>
              </p:ext>
            </p:extLst>
          </p:nvPr>
        </p:nvGraphicFramePr>
        <p:xfrm>
          <a:off x="473912" y="4931010"/>
          <a:ext cx="5910173" cy="2624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BBEB3EA-7C4D-4FFE-BE48-A2825C4DE245}"/>
              </a:ext>
            </a:extLst>
          </p:cNvPr>
          <p:cNvSpPr/>
          <p:nvPr/>
        </p:nvSpPr>
        <p:spPr>
          <a:xfrm>
            <a:off x="924980" y="4677094"/>
            <a:ext cx="466281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ктілі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CDC05B-3D86-4062-B760-F898ADF24407}"/>
              </a:ext>
            </a:extLst>
          </p:cNvPr>
          <p:cNvSpPr/>
          <p:nvPr/>
        </p:nvSpPr>
        <p:spPr>
          <a:xfrm>
            <a:off x="234372" y="7609051"/>
            <a:ext cx="62553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кті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т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56565" y="423595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НА ӘЛЕУМЕТТІК ТӨЛЕМ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7152" y="37787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64371" y="869202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8752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11BD6FE-F23A-48C6-90FB-3DB1310050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8255469"/>
              </p:ext>
            </p:extLst>
          </p:nvPr>
        </p:nvGraphicFramePr>
        <p:xfrm>
          <a:off x="1376071" y="1527851"/>
          <a:ext cx="4105858" cy="2081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E53A6F-E0BA-4976-9C7C-03BFF4B1DDDC}"/>
              </a:ext>
            </a:extLst>
          </p:cNvPr>
          <p:cNvSpPr/>
          <p:nvPr/>
        </p:nvSpPr>
        <p:spPr>
          <a:xfrm>
            <a:off x="269643" y="1234098"/>
            <a:ext cx="547553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D2D802-B08D-4400-8393-3E69B933783A}"/>
              </a:ext>
            </a:extLst>
          </p:cNvPr>
          <p:cNvSpPr/>
          <p:nvPr/>
        </p:nvSpPr>
        <p:spPr>
          <a:xfrm>
            <a:off x="383806" y="3713207"/>
            <a:ext cx="60764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68 95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45 997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9027358-16F3-4886-8161-E1C8446F21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0695782"/>
              </p:ext>
            </p:extLst>
          </p:nvPr>
        </p:nvGraphicFramePr>
        <p:xfrm>
          <a:off x="1156570" y="4915807"/>
          <a:ext cx="4608942" cy="2037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E4C815C-B60D-4A77-819B-E24C5552ED09}"/>
              </a:ext>
            </a:extLst>
          </p:cNvPr>
          <p:cNvSpPr/>
          <p:nvPr/>
        </p:nvSpPr>
        <p:spPr>
          <a:xfrm>
            <a:off x="7152" y="4361975"/>
            <a:ext cx="645310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лар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-жылға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дациясы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CA4C4C7-1ED2-4FCC-BD33-14C560A10C61}"/>
              </a:ext>
            </a:extLst>
          </p:cNvPr>
          <p:cNvSpPr/>
          <p:nvPr/>
        </p:nvSpPr>
        <p:spPr>
          <a:xfrm>
            <a:off x="383806" y="7091585"/>
            <a:ext cx="62684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72 39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indent="234945" algn="just"/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ӘТбк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19 872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– 196 000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ЕТЖ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жет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еселенген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і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40%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138539" y="10344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66090" y="472434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НА ӘЛЕУМЕТТІК ТӨЛЕМ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85140" y="4075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65C6F04-55CD-4A75-BB48-B14C5D844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69741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018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60509" y="65458"/>
            <a:ext cx="6621291" cy="755762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ГІ ЦИФРЛЫҚ ШЕШІМДЕРДІҢ ДАМУЫ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85749" y="1256304"/>
            <a:ext cx="55751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ru-RU" sz="1000" u="sng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ар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ға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ұқса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ақыты-20 минут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5BBA63F2-9662-42C0-8DA2-75574B3E5D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3546801"/>
              </p:ext>
            </p:extLst>
          </p:nvPr>
        </p:nvGraphicFramePr>
        <p:xfrm>
          <a:off x="474072" y="2472091"/>
          <a:ext cx="5743576" cy="2066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0CD1E3A-55F7-4C59-8B2F-99BB00298AFB}"/>
              </a:ext>
            </a:extLst>
          </p:cNvPr>
          <p:cNvSpPr/>
          <p:nvPr/>
        </p:nvSpPr>
        <p:spPr>
          <a:xfrm>
            <a:off x="373666" y="2115334"/>
            <a:ext cx="594438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 түрлері бөлісіндегі мемлекеттік көрсетелетін қызметтер</a:t>
            </a:r>
            <a:endParaRPr lang="ru-KZ" sz="105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60A7E2-B3CF-48AA-8DF3-8354547CD674}"/>
              </a:ext>
            </a:extLst>
          </p:cNvPr>
          <p:cNvSpPr/>
          <p:nvPr/>
        </p:nvSpPr>
        <p:spPr>
          <a:xfrm>
            <a:off x="285750" y="4538452"/>
            <a:ext cx="629602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901 79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,5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70% - да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там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кт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сан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4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7%)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ция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іс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лт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күніне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спай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күніне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р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қ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әсімдік-проце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ормал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ың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әсім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m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беп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бар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корпорация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илиалд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м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дағал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шықт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шықт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C218A90-8415-46B2-959D-D5A3A9259F87}"/>
              </a:ext>
            </a:extLst>
          </p:cNvPr>
          <p:cNvSpPr/>
          <p:nvPr/>
        </p:nvSpPr>
        <p:spPr>
          <a:xfrm>
            <a:off x="75615" y="995718"/>
            <a:ext cx="6621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ӘЛЕУМЕТТІК ТӨЛЕМДЕРДІ ТАҒАЙЫНДАУ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EF709AC-7721-4C64-A178-60B0EB34315E}"/>
              </a:ext>
            </a:extLst>
          </p:cNvPr>
          <p:cNvCxnSpPr>
            <a:cxnSpLocks/>
          </p:cNvCxnSpPr>
          <p:nvPr/>
        </p:nvCxnSpPr>
        <p:spPr>
          <a:xfrm flipV="1">
            <a:off x="75615" y="87404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BAA19AD-B9C2-4936-9519-1215ED58E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424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28B03C7-E8DC-4AC8-9D88-A0103F9A9C1B}"/>
              </a:ext>
            </a:extLst>
          </p:cNvPr>
          <p:cNvSpPr/>
          <p:nvPr/>
        </p:nvSpPr>
        <p:spPr>
          <a:xfrm>
            <a:off x="713112" y="5156168"/>
            <a:ext cx="494494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530BDBBB-F0AE-467C-A2E6-15F0DC6021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9731252"/>
              </p:ext>
            </p:extLst>
          </p:nvPr>
        </p:nvGraphicFramePr>
        <p:xfrm>
          <a:off x="939297" y="5270368"/>
          <a:ext cx="5063713" cy="225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2C3162-FA0C-4851-A4B7-C1383C449754}"/>
              </a:ext>
            </a:extLst>
          </p:cNvPr>
          <p:cNvSpPr/>
          <p:nvPr/>
        </p:nvSpPr>
        <p:spPr>
          <a:xfrm>
            <a:off x="247649" y="7528335"/>
            <a:ext cx="64103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ытындыл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әстүрл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39,0%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2022 ж. - 48,6 %); композиттік-1,4% 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2,5%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де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9,6% 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2022 ж. – 48,9%).  </a:t>
            </a: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ңберінд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ілде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б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ркүйект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е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н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ж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ша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а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лтоқсан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жб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кеттері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формациялау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-кезеңіме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к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ылаты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ады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-ден 4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н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сқарты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жим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5 792 макет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6200DFC-221A-4B53-9AB3-DFE777D22A23}"/>
              </a:ext>
            </a:extLst>
          </p:cNvPr>
          <p:cNvSpPr>
            <a:spLocks/>
          </p:cNvSpPr>
          <p:nvPr/>
        </p:nvSpPr>
        <p:spPr>
          <a:xfrm>
            <a:off x="247650" y="920261"/>
            <a:ext cx="6410324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ӘА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шімд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2,5%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заю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ысықтауда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ЭІМ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де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сқару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ке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йтке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уш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ушісі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ар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-қимыл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рделіліг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тікк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лтіру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ы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т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5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те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над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лар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л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marL="228600" indent="-228600" algn="just">
              <a:buAutoNum type="arabicPeriod"/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йінн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үмкінді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хабард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ма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зай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л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.</a:t>
            </a:r>
          </a:p>
          <a:p>
            <a:pPr marL="228600" indent="-228600" algn="just">
              <a:buAutoNum type="arabicPeriod"/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уш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лісімі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г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мес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мес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marL="228600" indent="-228600" algn="just">
              <a:buAutoNum type="arabicPeriod"/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ЖК, ТЖК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арын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олу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кті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ра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кті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лмег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нықт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уш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ңдау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Ә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лмей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м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ынд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кер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сот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шім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еді.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Е-Макет" ААЖ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дарлама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нім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е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Е-Макет" ААЖ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теу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ониторинг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өн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сыныст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ібереді.Мемлек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ңейтіле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әстүрл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гіну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"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заматтар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рпорация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КЕА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үгін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м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gov.kz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bek.kz.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інш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де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нкт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рыл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МӘС, ХҚКО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AFE5B47-F6DE-4315-99CC-F13B365B12F8}"/>
              </a:ext>
            </a:extLst>
          </p:cNvPr>
          <p:cNvSpPr txBox="1"/>
          <p:nvPr/>
        </p:nvSpPr>
        <p:spPr>
          <a:xfrm>
            <a:off x="160509" y="36883"/>
            <a:ext cx="6621291" cy="768586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 ЦИФРЛЫҚ ШЕШІМДЕРДІҢ ДАМУЫ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1B961D86-1A5A-424E-B4B1-4E6279E3CF4A}"/>
              </a:ext>
            </a:extLst>
          </p:cNvPr>
          <p:cNvCxnSpPr>
            <a:cxnSpLocks/>
          </p:cNvCxnSpPr>
          <p:nvPr/>
        </p:nvCxnSpPr>
        <p:spPr>
          <a:xfrm flipV="1">
            <a:off x="8940" y="82642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2BC3A82-2499-427B-9AB7-E81B6A06E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306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8759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47650" y="1591114"/>
            <a:ext cx="44961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ru-RU" sz="1000" u="sng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ға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endParaRPr lang="ru-RU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ұқса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ақыты-20 минут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9659FCA0-021C-4D85-9778-A27F4DCE92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5589125"/>
              </p:ext>
            </p:extLst>
          </p:nvPr>
        </p:nvGraphicFramePr>
        <p:xfrm>
          <a:off x="509480" y="3407384"/>
          <a:ext cx="5340379" cy="2608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5E2D94F2-4971-4B2F-B0AD-51F37D7B01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0088399"/>
              </p:ext>
            </p:extLst>
          </p:nvPr>
        </p:nvGraphicFramePr>
        <p:xfrm>
          <a:off x="315775" y="1974743"/>
          <a:ext cx="5534084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107">
                  <a:extLst>
                    <a:ext uri="{9D8B030D-6E8A-4147-A177-3AD203B41FA5}">
                      <a16:colId xmlns:a16="http://schemas.microsoft.com/office/drawing/2014/main" val="4004185805"/>
                    </a:ext>
                  </a:extLst>
                </a:gridCol>
                <a:gridCol w="1142754">
                  <a:extLst>
                    <a:ext uri="{9D8B030D-6E8A-4147-A177-3AD203B41FA5}">
                      <a16:colId xmlns:a16="http://schemas.microsoft.com/office/drawing/2014/main" val="1234863565"/>
                    </a:ext>
                  </a:extLst>
                </a:gridCol>
                <a:gridCol w="1540234">
                  <a:extLst>
                    <a:ext uri="{9D8B030D-6E8A-4147-A177-3AD203B41FA5}">
                      <a16:colId xmlns:a16="http://schemas.microsoft.com/office/drawing/2014/main" val="2809999960"/>
                    </a:ext>
                  </a:extLst>
                </a:gridCol>
                <a:gridCol w="1473989">
                  <a:extLst>
                    <a:ext uri="{9D8B030D-6E8A-4147-A177-3AD203B41FA5}">
                      <a16:colId xmlns:a16="http://schemas.microsoft.com/office/drawing/2014/main" val="2147560993"/>
                    </a:ext>
                  </a:extLst>
                </a:gridCol>
              </a:tblGrid>
              <a:tr h="191136">
                <a:tc>
                  <a:txBody>
                    <a:bodyPr/>
                    <a:lstStyle/>
                    <a:p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3888732"/>
                  </a:ext>
                </a:extLst>
              </a:tr>
              <a:tr h="191136">
                <a:tc>
                  <a:txBody>
                    <a:bodyPr/>
                    <a:lstStyle/>
                    <a:p>
                      <a:pPr marL="0" marR="0" lvl="0" indent="0" algn="l" defTabSz="9167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ілген</a:t>
                      </a:r>
                      <a:endParaRPr lang="ru-KZ" sz="10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9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202188"/>
                  </a:ext>
                </a:extLst>
              </a:tr>
              <a:tr h="191136">
                <a:tc>
                  <a:txBody>
                    <a:bodyPr/>
                    <a:lstStyle/>
                    <a:p>
                      <a:pPr marL="0" marR="0" lvl="0" indent="0" algn="l" defTabSz="9167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 </a:t>
                      </a:r>
                      <a:r>
                        <a:rPr lang="ru-RU" sz="10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тылды</a:t>
                      </a:r>
                      <a:endParaRPr lang="ru-KZ" sz="10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627904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DA559576-9C27-49A1-AD2C-6BAD28BCF4DC}"/>
              </a:ext>
            </a:extLst>
          </p:cNvPr>
          <p:cNvSpPr txBox="1"/>
          <p:nvPr/>
        </p:nvSpPr>
        <p:spPr bwMode="auto">
          <a:xfrm>
            <a:off x="315775" y="2827495"/>
            <a:ext cx="5534084" cy="276993"/>
          </a:xfrm>
          <a:prstGeom prst="rect">
            <a:avLst/>
          </a:prstGeom>
          <a:solidFill>
            <a:srgbClr val="00B050"/>
          </a:solidFill>
        </p:spPr>
        <p:txBody>
          <a:bodyPr wrap="square" lIns="121915" tIns="60957" rIns="121915" bIns="60957">
            <a:spAutoFit/>
          </a:bodyPr>
          <a:lstStyle/>
          <a:p>
            <a:pPr algn="ctr">
              <a:defRPr/>
            </a:pPr>
            <a:r>
              <a:rPr lang="kk-KZ" sz="1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қызмет көрсету мерзімдерін бұзу тіркелген жоқ</a:t>
            </a:r>
            <a:endParaRPr lang="ru-RU" sz="10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9585C75-B609-43C9-A3E5-F879712EB2E2}"/>
              </a:ext>
            </a:extLst>
          </p:cNvPr>
          <p:cNvSpPr/>
          <p:nvPr/>
        </p:nvSpPr>
        <p:spPr>
          <a:xfrm>
            <a:off x="785734" y="3224604"/>
            <a:ext cx="506412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E84081C9-DAD1-45D4-A398-0FEC30EE5E48}"/>
              </a:ext>
            </a:extLst>
          </p:cNvPr>
          <p:cNvSpPr txBox="1"/>
          <p:nvPr/>
        </p:nvSpPr>
        <p:spPr>
          <a:xfrm>
            <a:off x="160509" y="113083"/>
            <a:ext cx="6621291" cy="755762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ГІ ЦИФРЛЫҚ ШЕШІМДЕРДІҢ ДАМУЫ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C1541EB-2E5B-41EB-BF92-342FF4FD210D}"/>
              </a:ext>
            </a:extLst>
          </p:cNvPr>
          <p:cNvSpPr/>
          <p:nvPr/>
        </p:nvSpPr>
        <p:spPr>
          <a:xfrm>
            <a:off x="75615" y="963271"/>
            <a:ext cx="64679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МІНДЕТТІ ӘЛЕУМЕТТІК САҚТАНДЫРУ ЖҮЙЕСІНЕ ҚАТЫСУШЫҒА ӘЛЕУМЕТТІК АУДАРЫМДАРДЫҢ ЖАЙ КҮЙІ МЕН ҚОЗҒАЛЫСЫ ТУРАЛЫ АҚПАРАТ БЕРУ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13F7F67-2E41-4829-A51D-B9FD22085CC4}"/>
              </a:ext>
            </a:extLst>
          </p:cNvPr>
          <p:cNvCxnSpPr>
            <a:cxnSpLocks/>
          </p:cNvCxnSpPr>
          <p:nvPr/>
        </p:nvCxnSpPr>
        <p:spPr>
          <a:xfrm flipV="1">
            <a:off x="0" y="91090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16AC863-60B4-464C-8BFB-81AA35ADEDB0}"/>
              </a:ext>
            </a:extLst>
          </p:cNvPr>
          <p:cNvSpPr/>
          <p:nvPr/>
        </p:nvSpPr>
        <p:spPr>
          <a:xfrm>
            <a:off x="75615" y="6095277"/>
            <a:ext cx="65528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АРТЫҚ (ҚАТЕ) ТӨЛЕНГЕН ӘЛЕУМЕТТІК АУДАРЫМДАР МЕН ӨСІМПҰЛДАРДЫҢ СОМАЛАРЫН ҚАЙТАРУ</a:t>
            </a:r>
            <a:endParaRPr lang="ru-KZ" sz="12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18F8A06-38F1-4C27-B097-6452F4797FFD}"/>
              </a:ext>
            </a:extLst>
          </p:cNvPr>
          <p:cNvSpPr/>
          <p:nvPr/>
        </p:nvSpPr>
        <p:spPr>
          <a:xfrm>
            <a:off x="247650" y="6556942"/>
            <a:ext cx="6462856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ЦДИАӨМ 16.08.2023 ж. № 339/Н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ет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ізілім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ЕХӘҚМ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ҚР ЦДИАӨМ 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усым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№13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лес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веб-портал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"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ило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бан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йымдастыры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горитм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мыз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кіметтің"веб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портал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ылдан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65-70%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ҚР ЕХӘҚМ 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ңдеу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йымдаст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ААЖ «Ә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одул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795A669-78F8-46EB-9ADC-7F9DBDAD8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9243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7771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338209" y="197958"/>
            <a:ext cx="5830775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АҚ (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дан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spc="20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і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МӘСҚ)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0" y="866673"/>
            <a:ext cx="5830775" cy="296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395823F-5FA5-458A-BF76-21F46D5505E3}"/>
              </a:ext>
            </a:extLst>
          </p:cNvPr>
          <p:cNvSpPr/>
          <p:nvPr/>
        </p:nvSpPr>
        <p:spPr>
          <a:xfrm>
            <a:off x="276352" y="1046808"/>
            <a:ext cx="3152648" cy="720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ғам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"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0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н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 23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улыс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ӘСҚ-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ЕХ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ӘҚ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кцион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ӘС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ы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ғы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рық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МӘ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МӘС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дар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МӘСҚ Бас директоры.</a:t>
            </a:r>
            <a:endParaRPr lang="ru-RU" sz="6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-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ң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ссияс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тей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лер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йым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екв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п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қтылы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институт.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indent="182563" algn="just">
              <a:spcBef>
                <a:spcPts val="600"/>
              </a:spcBef>
              <a:spcAft>
                <a:spcPts val="0"/>
              </a:spcAft>
            </a:pP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с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қарад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нақт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та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та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шім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ct val="101000"/>
              </a:lnSpc>
              <a:spcAft>
                <a:spcPts val="0"/>
              </a:spcAft>
            </a:pP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92522C7-CA5E-449F-AFB4-88982F6A6B5C}"/>
              </a:ext>
            </a:extLst>
          </p:cNvPr>
          <p:cNvSpPr/>
          <p:nvPr/>
        </p:nvSpPr>
        <p:spPr>
          <a:xfrm>
            <a:off x="3628385" y="1054899"/>
            <a:ext cx="2895298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  <a:tabLst>
                <a:tab pos="540385" algn="l"/>
              </a:tabLs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ымд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б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  <a:tabLst>
                <a:tab pos="540385" algn="l"/>
              </a:tabLs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сультатив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інді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тар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  <a:tabLst>
                <a:tab pos="540385" algn="l"/>
              </a:tabLs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сақталуын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нысанал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ылуын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кепілдік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над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кт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п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бал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ы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buFontTx/>
              <a:buChar char="-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изнес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ц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71450" indent="-171450" algn="just">
              <a:buFontTx/>
              <a:buChar char="-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а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аласқ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 филиалы бар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2802" y="8787241"/>
            <a:ext cx="41044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734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E954B0B8-EE9A-483E-A190-701E69EDA9AC}"/>
              </a:ext>
            </a:extLst>
          </p:cNvPr>
          <p:cNvSpPr/>
          <p:nvPr/>
        </p:nvSpPr>
        <p:spPr>
          <a:xfrm>
            <a:off x="276224" y="811268"/>
            <a:ext cx="63055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ндар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ауқым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0103B091-689F-4E8B-84F2-D0D2FA60D3D1}"/>
              </a:ext>
            </a:extLst>
          </p:cNvPr>
          <p:cNvSpPr/>
          <p:nvPr/>
        </p:nvSpPr>
        <p:spPr>
          <a:xfrm>
            <a:off x="276224" y="5651807"/>
            <a:ext cx="6305549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интернет-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сур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gfss.kz: </a:t>
            </a:r>
            <a:endParaRPr lang="kk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лық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ек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териа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наластыры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Медиа/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графика"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нфографик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,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"МӘСҚ "А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дер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рек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ектілендір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т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ше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н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ңірл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с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тыжыл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ытындыл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наластыры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D2AAA639-6C0D-4339-8261-A9CE278BEA61}"/>
              </a:ext>
            </a:extLst>
          </p:cNvPr>
          <p:cNvSpPr txBox="1"/>
          <p:nvPr/>
        </p:nvSpPr>
        <p:spPr>
          <a:xfrm>
            <a:off x="118352" y="185822"/>
            <a:ext cx="6621291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 ЖҰМЫСТАРЫ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532D456-B496-4AA2-B3CE-8CD7999EFF7B}"/>
              </a:ext>
            </a:extLst>
          </p:cNvPr>
          <p:cNvCxnSpPr>
            <a:cxnSpLocks/>
          </p:cNvCxnSpPr>
          <p:nvPr/>
        </p:nvCxnSpPr>
        <p:spPr>
          <a:xfrm flipV="1">
            <a:off x="0" y="50998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FA892AE-DB8F-4A39-8BC4-FF13D20D6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D89371E-05FD-4C79-B0B7-1D714018D7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2163"/>
            <a:ext cx="6858000" cy="404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4678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TextBox 354">
            <a:extLst>
              <a:ext uri="{FF2B5EF4-FFF2-40B4-BE49-F238E27FC236}">
                <a16:creationId xmlns:a16="http://schemas.microsoft.com/office/drawing/2014/main" id="{D97EB9E9-1413-46BD-ADBE-8830D0E9779D}"/>
              </a:ext>
            </a:extLst>
          </p:cNvPr>
          <p:cNvSpPr txBox="1"/>
          <p:nvPr/>
        </p:nvSpPr>
        <p:spPr>
          <a:xfrm flipH="1">
            <a:off x="2088972" y="766529"/>
            <a:ext cx="3143427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,  %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AA102FF-80CB-4CA6-A195-D6C63A2C0F84}"/>
              </a:ext>
            </a:extLst>
          </p:cNvPr>
          <p:cNvGrpSpPr/>
          <p:nvPr/>
        </p:nvGrpSpPr>
        <p:grpSpPr>
          <a:xfrm>
            <a:off x="1208517" y="1251530"/>
            <a:ext cx="4176051" cy="2632909"/>
            <a:chOff x="-3390609" y="1486717"/>
            <a:chExt cx="5213117" cy="3675533"/>
          </a:xfrm>
        </p:grpSpPr>
        <p:graphicFrame>
          <p:nvGraphicFramePr>
            <p:cNvPr id="353" name="Диаграмма 352">
              <a:extLst>
                <a:ext uri="{FF2B5EF4-FFF2-40B4-BE49-F238E27FC236}">
                  <a16:creationId xmlns:a16="http://schemas.microsoft.com/office/drawing/2014/main" id="{75BD1756-0A49-445D-8ECA-16C514F1DCE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09122587"/>
                </p:ext>
              </p:extLst>
            </p:nvPr>
          </p:nvGraphicFramePr>
          <p:xfrm>
            <a:off x="-3390609" y="1486717"/>
            <a:ext cx="5213117" cy="36755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54" name="Oval 98">
              <a:extLst>
                <a:ext uri="{FF2B5EF4-FFF2-40B4-BE49-F238E27FC236}">
                  <a16:creationId xmlns:a16="http://schemas.microsoft.com/office/drawing/2014/main" id="{AE95DEE4-FA66-4F38-9135-67D2FC21D040}"/>
                </a:ext>
              </a:extLst>
            </p:cNvPr>
            <p:cNvSpPr/>
            <p:nvPr/>
          </p:nvSpPr>
          <p:spPr>
            <a:xfrm>
              <a:off x="-1562882" y="2375346"/>
              <a:ext cx="1834615" cy="20586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0" name="TextBox 130">
              <a:extLst>
                <a:ext uri="{FF2B5EF4-FFF2-40B4-BE49-F238E27FC236}">
                  <a16:creationId xmlns:a16="http://schemas.microsoft.com/office/drawing/2014/main" id="{313D2CE5-3656-42A3-83E0-9FC6B57C0D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185856" y="2736945"/>
              <a:ext cx="3015605" cy="10853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22216" tIns="61112" rIns="122216" bIns="61112">
              <a:spAutoFit/>
            </a:bodyPr>
            <a:lstStyle>
              <a:lvl1pPr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5 507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50" b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ӨТІНІШТЕР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00" i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(3 733 – ОА,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00" i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 774 – </a:t>
              </a:r>
              <a:r>
                <a:rPr lang="ru-RU" altLang="ru-RU" sz="1000" i="1" dirty="0" err="1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филиалдар</a:t>
              </a:r>
              <a:r>
                <a:rPr lang="ru-RU" altLang="ru-RU" sz="1000" i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)</a:t>
              </a:r>
              <a:endParaRPr lang="en-US" altLang="ru-RU" sz="105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B9C9B2A-1646-4BEF-BFE0-DB4F84C575BA}"/>
              </a:ext>
            </a:extLst>
          </p:cNvPr>
          <p:cNvSpPr/>
          <p:nvPr/>
        </p:nvSpPr>
        <p:spPr>
          <a:xfrm>
            <a:off x="0" y="79986"/>
            <a:ext cx="61446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7662" hangingPunct="0">
              <a:defRPr/>
            </a:pPr>
            <a:r>
              <a:rPr lang="ru-RU" sz="1600" b="1" cap="all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ДЫҢ ӨТІНІШТЕРІН ҚАРАУ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F837107B-43DA-4A0D-BF9F-0BEAD9B1B529}"/>
              </a:ext>
            </a:extLst>
          </p:cNvPr>
          <p:cNvCxnSpPr>
            <a:cxnSpLocks/>
          </p:cNvCxnSpPr>
          <p:nvPr/>
        </p:nvCxnSpPr>
        <p:spPr>
          <a:xfrm flipV="1">
            <a:off x="0" y="4371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85E5588-F679-4454-9523-920AB137F0AF}"/>
              </a:ext>
            </a:extLst>
          </p:cNvPr>
          <p:cNvSpPr/>
          <p:nvPr/>
        </p:nvSpPr>
        <p:spPr>
          <a:xfrm>
            <a:off x="322063" y="4301416"/>
            <a:ext cx="627697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 50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ұра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,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022-2023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раға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өтініштер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Е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66,7%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ресурсы - 28,6%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ілер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м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каун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3,6%, ЭҚЖ - 0,9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ал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ш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алог" - 0,3%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– 44,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сан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ойынша-23,3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4A37B82-E2FD-4632-9923-3C1540DC5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9870275"/>
              </p:ext>
            </p:extLst>
          </p:nvPr>
        </p:nvGraphicFramePr>
        <p:xfrm>
          <a:off x="402762" y="5207270"/>
          <a:ext cx="6115578" cy="1376044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678765">
                  <a:extLst>
                    <a:ext uri="{9D8B030D-6E8A-4147-A177-3AD203B41FA5}">
                      <a16:colId xmlns:a16="http://schemas.microsoft.com/office/drawing/2014/main" val="1872693152"/>
                    </a:ext>
                  </a:extLst>
                </a:gridCol>
                <a:gridCol w="781707">
                  <a:extLst>
                    <a:ext uri="{9D8B030D-6E8A-4147-A177-3AD203B41FA5}">
                      <a16:colId xmlns:a16="http://schemas.microsoft.com/office/drawing/2014/main" val="1481973139"/>
                    </a:ext>
                  </a:extLst>
                </a:gridCol>
                <a:gridCol w="575821">
                  <a:extLst>
                    <a:ext uri="{9D8B030D-6E8A-4147-A177-3AD203B41FA5}">
                      <a16:colId xmlns:a16="http://schemas.microsoft.com/office/drawing/2014/main" val="1498574214"/>
                    </a:ext>
                  </a:extLst>
                </a:gridCol>
                <a:gridCol w="688191">
                  <a:extLst>
                    <a:ext uri="{9D8B030D-6E8A-4147-A177-3AD203B41FA5}">
                      <a16:colId xmlns:a16="http://schemas.microsoft.com/office/drawing/2014/main" val="525961342"/>
                    </a:ext>
                  </a:extLst>
                </a:gridCol>
                <a:gridCol w="698836">
                  <a:extLst>
                    <a:ext uri="{9D8B030D-6E8A-4147-A177-3AD203B41FA5}">
                      <a16:colId xmlns:a16="http://schemas.microsoft.com/office/drawing/2014/main" val="3589905488"/>
                    </a:ext>
                  </a:extLst>
                </a:gridCol>
                <a:gridCol w="639579">
                  <a:extLst>
                    <a:ext uri="{9D8B030D-6E8A-4147-A177-3AD203B41FA5}">
                      <a16:colId xmlns:a16="http://schemas.microsoft.com/office/drawing/2014/main" val="965129854"/>
                    </a:ext>
                  </a:extLst>
                </a:gridCol>
                <a:gridCol w="650607">
                  <a:extLst>
                    <a:ext uri="{9D8B030D-6E8A-4147-A177-3AD203B41FA5}">
                      <a16:colId xmlns:a16="http://schemas.microsoft.com/office/drawing/2014/main" val="4224798846"/>
                    </a:ext>
                  </a:extLst>
                </a:gridCol>
                <a:gridCol w="683688">
                  <a:extLst>
                    <a:ext uri="{9D8B030D-6E8A-4147-A177-3AD203B41FA5}">
                      <a16:colId xmlns:a16="http://schemas.microsoft.com/office/drawing/2014/main" val="3922487102"/>
                    </a:ext>
                  </a:extLst>
                </a:gridCol>
                <a:gridCol w="718384">
                  <a:extLst>
                    <a:ext uri="{9D8B030D-6E8A-4147-A177-3AD203B41FA5}">
                      <a16:colId xmlns:a16="http://schemas.microsoft.com/office/drawing/2014/main" val="2377969339"/>
                    </a:ext>
                  </a:extLst>
                </a:gridCol>
              </a:tblGrid>
              <a:tr h="23341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езең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қ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тер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А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иал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ың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тер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зі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KZ" sz="10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49607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-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ҚЖ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-ресурс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шық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иалог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і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6878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88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2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0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2875373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07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33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74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972175"/>
                  </a:ext>
                </a:extLst>
              </a:tr>
              <a:tr h="27863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су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3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9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090056"/>
                  </a:ext>
                </a:extLst>
              </a:tr>
            </a:tbl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5384568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937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6958" y="3689455"/>
            <a:ext cx="6413392" cy="1015663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6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ыға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ди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с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тімг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с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қта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т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у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ды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уда</a:t>
            </a:r>
            <a:endParaRPr lang="ru-RU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A76B15F1-9FB0-489D-9540-DF5FE4E1E3D4}"/>
              </a:ext>
            </a:extLst>
          </p:cNvPr>
          <p:cNvSpPr txBox="1"/>
          <p:nvPr/>
        </p:nvSpPr>
        <p:spPr>
          <a:xfrm>
            <a:off x="85786" y="129857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 ЖҰМЫСЫ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1CF0ED1-A5EC-4691-8202-0E07F8E1B9C2}"/>
              </a:ext>
            </a:extLst>
          </p:cNvPr>
          <p:cNvCxnSpPr>
            <a:cxnSpLocks/>
          </p:cNvCxnSpPr>
          <p:nvPr/>
        </p:nvCxnSpPr>
        <p:spPr>
          <a:xfrm flipV="1">
            <a:off x="0" y="4552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6DEBD41-C66D-4D52-86F3-349F5282B18E}"/>
              </a:ext>
            </a:extLst>
          </p:cNvPr>
          <p:cNvSpPr/>
          <p:nvPr/>
        </p:nvSpPr>
        <p:spPr>
          <a:xfrm>
            <a:off x="85786" y="7559838"/>
            <a:ext cx="620642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дыөте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201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28,1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үрде-92,6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со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ая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ек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кті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жб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езде-3 528,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б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1 968,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D3DA10C-FE3E-41F6-815C-108D78BD816D}"/>
              </a:ext>
            </a:extLst>
          </p:cNvPr>
          <p:cNvGrpSpPr/>
          <p:nvPr/>
        </p:nvGrpSpPr>
        <p:grpSpPr>
          <a:xfrm>
            <a:off x="646489" y="1170543"/>
            <a:ext cx="5419080" cy="2718764"/>
            <a:chOff x="675170" y="1170543"/>
            <a:chExt cx="4829174" cy="2718764"/>
          </a:xfrm>
        </p:grpSpPr>
        <p:graphicFrame>
          <p:nvGraphicFramePr>
            <p:cNvPr id="10" name="Диаграмма 9">
              <a:extLst>
                <a:ext uri="{FF2B5EF4-FFF2-40B4-BE49-F238E27FC236}">
                  <a16:creationId xmlns:a16="http://schemas.microsoft.com/office/drawing/2014/main" id="{A709FCFB-5077-4C26-B44D-FB430ACB61A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25777391"/>
                </p:ext>
              </p:extLst>
            </p:nvPr>
          </p:nvGraphicFramePr>
          <p:xfrm>
            <a:off x="675170" y="1170543"/>
            <a:ext cx="4829174" cy="27187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F302D7FE-22F1-4FB7-BBEA-FB41D7D81E5F}"/>
                </a:ext>
              </a:extLst>
            </p:cNvPr>
            <p:cNvSpPr/>
            <p:nvPr/>
          </p:nvSpPr>
          <p:spPr>
            <a:xfrm>
              <a:off x="1896614" y="2076056"/>
              <a:ext cx="1118520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261</a:t>
              </a:r>
              <a:r>
                <a:rPr lang="ru-RU" sz="16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200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Азаматтық</a:t>
              </a:r>
              <a:endParaRPr lang="ru-RU" sz="12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алап-арыздар</a:t>
              </a:r>
              <a:endParaRPr lang="ru-KZ" sz="1200" dirty="0"/>
            </a:p>
          </p:txBody>
        </p:sp>
      </p:grp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D975F243-AD24-4E5E-B6E7-B092BB530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09597"/>
              </p:ext>
            </p:extLst>
          </p:nvPr>
        </p:nvGraphicFramePr>
        <p:xfrm>
          <a:off x="346148" y="4882057"/>
          <a:ext cx="6115011" cy="24322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066">
                  <a:extLst>
                    <a:ext uri="{9D8B030D-6E8A-4147-A177-3AD203B41FA5}">
                      <a16:colId xmlns:a16="http://schemas.microsoft.com/office/drawing/2014/main" val="654888733"/>
                    </a:ext>
                  </a:extLst>
                </a:gridCol>
                <a:gridCol w="1280108">
                  <a:extLst>
                    <a:ext uri="{9D8B030D-6E8A-4147-A177-3AD203B41FA5}">
                      <a16:colId xmlns:a16="http://schemas.microsoft.com/office/drawing/2014/main" val="3901713985"/>
                    </a:ext>
                  </a:extLst>
                </a:gridCol>
                <a:gridCol w="947874">
                  <a:extLst>
                    <a:ext uri="{9D8B030D-6E8A-4147-A177-3AD203B41FA5}">
                      <a16:colId xmlns:a16="http://schemas.microsoft.com/office/drawing/2014/main" val="2995947631"/>
                    </a:ext>
                  </a:extLst>
                </a:gridCol>
                <a:gridCol w="1172903">
                  <a:extLst>
                    <a:ext uri="{9D8B030D-6E8A-4147-A177-3AD203B41FA5}">
                      <a16:colId xmlns:a16="http://schemas.microsoft.com/office/drawing/2014/main" val="1202229146"/>
                    </a:ext>
                  </a:extLst>
                </a:gridCol>
                <a:gridCol w="1201030">
                  <a:extLst>
                    <a:ext uri="{9D8B030D-6E8A-4147-A177-3AD203B41FA5}">
                      <a16:colId xmlns:a16="http://schemas.microsoft.com/office/drawing/2014/main" val="383172423"/>
                    </a:ext>
                  </a:extLst>
                </a:gridCol>
                <a:gridCol w="1201030">
                  <a:extLst>
                    <a:ext uri="{9D8B030D-6E8A-4147-A177-3AD203B41FA5}">
                      <a16:colId xmlns:a16="http://schemas.microsoft.com/office/drawing/2014/main" val="279355255"/>
                    </a:ext>
                  </a:extLst>
                </a:gridCol>
              </a:tblGrid>
              <a:tr h="17367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/с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ғымдар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ап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алаптар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қты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өтеу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066393"/>
                  </a:ext>
                </a:extLst>
              </a:tr>
              <a:tr h="17367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емақы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Өтеу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8964787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Еңбекке қабілеттілігінен айырылу 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2 00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66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8546009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аушысынан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ырылу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9 967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 05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3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6408151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ұмысынан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йырылу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 853 73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 079 537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5,3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335760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үктілік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сану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695 750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3595583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а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үтімі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 875 828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279 771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4,5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324205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ып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0 032,68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 631, 6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7,7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830625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Ж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 000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54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858599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 534 313,68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 955 197,6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8,9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7150991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563CDA7-A5F0-4ECC-A686-FEDC58DCE56D}"/>
              </a:ext>
            </a:extLst>
          </p:cNvPr>
          <p:cNvSpPr/>
          <p:nvPr/>
        </p:nvSpPr>
        <p:spPr>
          <a:xfrm>
            <a:off x="196959" y="590184"/>
            <a:ext cx="63181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Ж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ық-проце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әсімдік-проце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DEA83D0-4010-472A-94D5-2D1EF31A4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5544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0792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C465EE2-240B-47BE-A432-AEB4DF3C9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527" y="464597"/>
            <a:ext cx="3266631" cy="8366851"/>
          </a:xfrm>
        </p:spPr>
        <p:txBody>
          <a:bodyPr>
            <a:noAutofit/>
          </a:bodyPr>
          <a:lstStyle/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де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ктор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к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діл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к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шы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би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кционер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0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23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ул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я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к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еле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т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ғида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н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ҚҚ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7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31447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498D000A-5A65-4C00-BB6F-17448A269881}"/>
              </a:ext>
            </a:extLst>
          </p:cNvPr>
          <p:cNvSpPr txBox="1"/>
          <p:nvPr/>
        </p:nvSpPr>
        <p:spPr>
          <a:xfrm>
            <a:off x="85785" y="72168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09A4CAB-7ABF-42D3-87A6-80C52DE880E9}"/>
              </a:ext>
            </a:extLst>
          </p:cNvPr>
          <p:cNvCxnSpPr>
            <a:cxnSpLocks/>
          </p:cNvCxnSpPr>
          <p:nvPr/>
        </p:nvCxnSpPr>
        <p:spPr>
          <a:xfrm flipV="1">
            <a:off x="9585" y="387553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EAF37D85-8A48-44CF-806B-C4EC7A8D5C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923952"/>
              </p:ext>
            </p:extLst>
          </p:nvPr>
        </p:nvGraphicFramePr>
        <p:xfrm>
          <a:off x="209527" y="2059914"/>
          <a:ext cx="3265777" cy="2216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4D874D9-30F9-4C79-AE3B-151977AE3F5E}"/>
              </a:ext>
            </a:extLst>
          </p:cNvPr>
          <p:cNvSpPr/>
          <p:nvPr/>
        </p:nvSpPr>
        <p:spPr>
          <a:xfrm>
            <a:off x="3638550" y="464597"/>
            <a:ext cx="3057525" cy="863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2-202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ты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қт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;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міле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с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та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Aft>
                <a:spcPts val="600"/>
              </a:spcAf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ункция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рдемдес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 algn="just">
              <a:spcAft>
                <a:spcPts val="600"/>
              </a:spcAft>
              <a:buAutoNum type="arabicParenR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</a:p>
          <a:p>
            <a:pPr marL="228600" indent="-228600" algn="just">
              <a:spcAft>
                <a:spcPts val="600"/>
              </a:spcAft>
              <a:buAutoNum type="arabicParenR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7800" algn="just">
              <a:spcAft>
                <a:spcPts val="600"/>
              </a:spcAf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д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б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рап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у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мк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77800" algn="just">
              <a:spcAft>
                <a:spcPts val="600"/>
              </a:spcAf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а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77800" algn="just">
              <a:spcAft>
                <a:spcPts val="600"/>
              </a:spcAf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патт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7800" algn="just">
              <a:spcAft>
                <a:spcPts val="600"/>
              </a:spcAf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ган</a:t>
            </a:r>
          </a:p>
          <a:p>
            <a:pPr indent="177800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с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Бас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іл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тқызылм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7800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кционер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уа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7800" algn="just"/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.05.28 № 167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сына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қалы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ган –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у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де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ді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2050B43-2D38-4736-A2E8-796B0585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1358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827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1C22A9-2E7B-41E5-859E-834C850F6D84}"/>
              </a:ext>
            </a:extLst>
          </p:cNvPr>
          <p:cNvSpPr/>
          <p:nvPr/>
        </p:nvSpPr>
        <p:spPr>
          <a:xfrm>
            <a:off x="0" y="594692"/>
            <a:ext cx="1875264" cy="86243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E73FA07-4361-4E74-B66C-6278CCCB1973}"/>
              </a:ext>
            </a:extLst>
          </p:cNvPr>
          <p:cNvSpPr/>
          <p:nvPr/>
        </p:nvSpPr>
        <p:spPr>
          <a:xfrm>
            <a:off x="2387548" y="2814558"/>
            <a:ext cx="431333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а</a:t>
            </a:r>
          </a:p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на Олеговна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л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шелендір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ін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герл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нцессия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сыны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сы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36EB56D-AB85-434B-BAEA-FCD0142C947B}"/>
              </a:ext>
            </a:extLst>
          </p:cNvPr>
          <p:cNvSpPr/>
          <p:nvPr/>
        </p:nvSpPr>
        <p:spPr>
          <a:xfrm>
            <a:off x="2100693" y="4515178"/>
            <a:ext cx="4664565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дық Ерназар </a:t>
            </a:r>
          </a:p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ул-Карымұлы</a:t>
            </a:r>
          </a:p>
          <a:p>
            <a:pPr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МӘСҚ" АҚ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де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C38E51C-B552-4C6E-A550-CF582333E1AB}"/>
              </a:ext>
            </a:extLst>
          </p:cNvPr>
          <p:cNvSpPr/>
          <p:nvPr/>
        </p:nvSpPr>
        <p:spPr>
          <a:xfrm>
            <a:off x="2254628" y="6062824"/>
            <a:ext cx="457917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імбековаГүлар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адилқыз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. </a:t>
            </a:r>
          </a:p>
          <a:p>
            <a:pPr lvl="0"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МӘСҚ" АҚ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3851BC0-4FDB-494E-9942-759A53C71C31}"/>
              </a:ext>
            </a:extLst>
          </p:cNvPr>
          <p:cNvSpPr/>
          <p:nvPr/>
        </p:nvSpPr>
        <p:spPr>
          <a:xfrm>
            <a:off x="2254628" y="7823115"/>
            <a:ext cx="421957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ғынғазинов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бол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ғынғазыұл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МӘСҚ" АҚ Бас</a:t>
            </a:r>
            <a:r>
              <a:rPr lang="kk-KZ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ма төрағасы</a:t>
            </a:r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C015252-FD43-4D1D-8FB5-3C7FAE5A5E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30" y="2968505"/>
            <a:ext cx="1245587" cy="1152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E05859C-16C7-469C-9D5D-C8E0C80E1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64" y="1230859"/>
            <a:ext cx="1152000" cy="1135391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5E04413-98EC-40C1-9CB9-E9734FDB4AB9}"/>
              </a:ext>
            </a:extLst>
          </p:cNvPr>
          <p:cNvSpPr/>
          <p:nvPr/>
        </p:nvSpPr>
        <p:spPr>
          <a:xfrm>
            <a:off x="2978641" y="1463224"/>
            <a:ext cx="313114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басов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мәди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лұлы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</a:t>
            </a: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ш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ице-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3FDE7C06-F6FA-42BB-8BBB-C2DE5D4839FC}"/>
              </a:ext>
            </a:extLst>
          </p:cNvPr>
          <p:cNvSpPr txBox="1"/>
          <p:nvPr/>
        </p:nvSpPr>
        <p:spPr>
          <a:xfrm>
            <a:off x="111336" y="87763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9FBA15-E965-4E13-A271-77FD130CE976}"/>
              </a:ext>
            </a:extLst>
          </p:cNvPr>
          <p:cNvSpPr/>
          <p:nvPr/>
        </p:nvSpPr>
        <p:spPr>
          <a:xfrm>
            <a:off x="-110286" y="594692"/>
            <a:ext cx="3290196" cy="351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ДИРЕКТОРЛАР КЕҢЕСІ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D1ABF8-064C-4559-95C2-3570C8B7488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30" y="4515179"/>
            <a:ext cx="1286915" cy="1152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4C987A4-481B-44DF-A5F5-006A6F9F6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03" y="7549934"/>
            <a:ext cx="1151014" cy="1151014"/>
          </a:xfrm>
          <a:prstGeom prst="rect">
            <a:avLst/>
          </a:prstGeom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EF6661E9-F931-4AE2-A947-486436FEF799}"/>
              </a:ext>
            </a:extLst>
          </p:cNvPr>
          <p:cNvCxnSpPr>
            <a:cxnSpLocks/>
          </p:cNvCxnSpPr>
          <p:nvPr/>
        </p:nvCxnSpPr>
        <p:spPr>
          <a:xfrm flipV="1">
            <a:off x="0" y="43775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Овал 4">
            <a:extLst>
              <a:ext uri="{FF2B5EF4-FFF2-40B4-BE49-F238E27FC236}">
                <a16:creationId xmlns:a16="http://schemas.microsoft.com/office/drawing/2014/main" id="{E0A869E3-2EAE-4DE0-BAEE-AC4D05FB5B15}"/>
              </a:ext>
            </a:extLst>
          </p:cNvPr>
          <p:cNvSpPr>
            <a:spLocks noChangeAspect="1"/>
          </p:cNvSpPr>
          <p:nvPr/>
        </p:nvSpPr>
        <p:spPr>
          <a:xfrm>
            <a:off x="177118" y="5900934"/>
            <a:ext cx="1276046" cy="122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pic>
        <p:nvPicPr>
          <p:cNvPr id="15" name="Рисунок 14" descr="http://192.168.20.149:32080/media/images/Bezymyannyy_kwavvSP.max-120x120.png">
            <a:extLst>
              <a:ext uri="{FF2B5EF4-FFF2-40B4-BE49-F238E27FC236}">
                <a16:creationId xmlns:a16="http://schemas.microsoft.com/office/drawing/2014/main" id="{45589DFE-76F1-48D7-8FED-0EB7FCFA299D}"/>
              </a:ext>
            </a:extLst>
          </p:cNvPr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0" r="1437"/>
          <a:stretch/>
        </p:blipFill>
        <p:spPr bwMode="auto">
          <a:xfrm>
            <a:off x="383797" y="6039371"/>
            <a:ext cx="844928" cy="92059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1881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9B45A38-F6DB-4437-8B20-EB40395F8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1124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94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38125" y="406428"/>
            <a:ext cx="3296375" cy="7427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ұрыстығ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д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плаен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пекті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абар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ктив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д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3038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ш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А. А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мірбае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73038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дың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ен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– Г. С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імбек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3038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10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рікт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ша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Г.А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агелдие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дың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яқталған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з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наз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йзул-Қарымұ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0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-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4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-шаруаш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б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9270" y="2359620"/>
            <a:ext cx="6465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31447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350EF1A-EB98-4A25-BB4D-BA3D8BB3F90E}"/>
              </a:ext>
            </a:extLst>
          </p:cNvPr>
          <p:cNvSpPr txBox="1"/>
          <p:nvPr/>
        </p:nvSpPr>
        <p:spPr>
          <a:xfrm>
            <a:off x="70936" y="50997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DCCC095-396A-413A-A324-05EAD1968801}"/>
              </a:ext>
            </a:extLst>
          </p:cNvPr>
          <p:cNvCxnSpPr>
            <a:cxnSpLocks/>
          </p:cNvCxnSpPr>
          <p:nvPr/>
        </p:nvCxnSpPr>
        <p:spPr>
          <a:xfrm flipV="1">
            <a:off x="61" y="35740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77CBDDD-4F28-4AF7-9881-B23316952354}"/>
              </a:ext>
            </a:extLst>
          </p:cNvPr>
          <p:cNvSpPr/>
          <p:nvPr/>
        </p:nvSpPr>
        <p:spPr>
          <a:xfrm>
            <a:off x="3619500" y="406428"/>
            <a:ext cx="3069230" cy="8556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н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. М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сым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урыз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қа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мше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изне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цес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епартамент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екторы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екторы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е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ектенді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ұсқау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м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с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йынд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ектенді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7.09.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40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лық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ұсқау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ісп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дарла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51F0D74-7D20-4D71-8A54-0ADE1203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215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656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320034" y="823396"/>
            <a:ext cx="6286981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-ұйымдар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лд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1.12.2023 ж. №1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- д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рб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ым-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ым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герген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ункция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кте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10.12.2021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.баста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7 ДК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1.06.2023 ж. №5 ДК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тшы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ктелг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ункция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ектендір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9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лтоқса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бас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.Қ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ДК 2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мыр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жатт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лғ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л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қтығыс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ұсқау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ектендір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нам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мақт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д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лдауы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парат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еминары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дениет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қырыпт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йнероликт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зентация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ал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. б.)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т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ра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актик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ЖТ</a:t>
            </a:r>
            <a:r>
              <a:rPr lang="kk-KZ" sz="1000" i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Т</a:t>
            </a:r>
            <a:r>
              <a:rPr lang="ru-RU" sz="1000" i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СЖТІ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лдам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ықтам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шыра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збес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ыптастыры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ЖТІ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зушылықт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ау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бепт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ю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СЖТІ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сынымд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лу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ониторинг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-да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актілер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нам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рмал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зушылықт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-д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л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ш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й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т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лғ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гіні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акті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у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мк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0033" y="6301819"/>
            <a:ext cx="41593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елефоны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(7172) 983 919</a:t>
            </a:r>
          </a:p>
          <a:p>
            <a:pPr algn="just"/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ен-жай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hlinkClick r:id="rId2"/>
              </a:rPr>
              <a:t>info@gfss.kz</a:t>
            </a:r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шталық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енжай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010000,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на қ.,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анбай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тыр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ңғыл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17 (15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ат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781234D9-FD81-495E-9522-A3B7638C6BCE}"/>
              </a:ext>
            </a:extLst>
          </p:cNvPr>
          <p:cNvSpPr txBox="1"/>
          <p:nvPr/>
        </p:nvSpPr>
        <p:spPr>
          <a:xfrm>
            <a:off x="85786" y="76245"/>
            <a:ext cx="5863589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-БАҚЫЛАУ ЖӘНЕ СЫБАЙЛАС ЖЕМҚОРЛЫҚҚА ҚАРСЫ ІС-ҚИМЫЛ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547E7D8-F500-41CA-82FB-5D15B33C6E80}"/>
              </a:ext>
            </a:extLst>
          </p:cNvPr>
          <p:cNvCxnSpPr>
            <a:cxnSpLocks/>
          </p:cNvCxnSpPr>
          <p:nvPr/>
        </p:nvCxnSpPr>
        <p:spPr>
          <a:xfrm flipV="1">
            <a:off x="9586" y="633633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4CDFCE-C064-4D64-8DC4-678A47F48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0673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7182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019" y="633800"/>
            <a:ext cx="3170981" cy="732508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-бабын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САК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м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ғырландырылған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озитарийіні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"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ар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ҚР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ыны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6-бабының 4-тармағы),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ми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ияланады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питал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н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258 769,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.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ғаз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аласт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 150 314,6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нк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ттар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08 455,2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258 769,8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изия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985 925,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.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328 382,9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(154 131,0)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з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л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98 592,5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2-бабын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5.05.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Центраудит-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ҰАК" ЖШ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Аудитор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ҚЕХС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т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пектіл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ін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ік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ді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08930" y="633800"/>
            <a:ext cx="2988000" cy="563231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ЕХ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йынд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ыға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озитарий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ия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ҚЕХС)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ша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ат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ат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ма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73038" algn="just"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ұсқаулығ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екте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ор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ар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ым-қатына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ғид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-</a:t>
            </a:r>
          </a:p>
          <a:p>
            <a:pPr indent="173038" algn="just"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налы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ст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3038" algn="just"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л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уар-мате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лік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ндылық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пе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к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к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г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й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б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3F0D343-6705-431F-A1E0-0D4808563BF0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 КӨРСЕТКІШТЕР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8CD2F114-816C-4A2D-BFAB-48223C40F190}"/>
              </a:ext>
            </a:extLst>
          </p:cNvPr>
          <p:cNvCxnSpPr>
            <a:cxnSpLocks/>
          </p:cNvCxnSpPr>
          <p:nvPr/>
        </p:nvCxnSpPr>
        <p:spPr>
          <a:xfrm flipV="1">
            <a:off x="85786" y="50037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22AA7C4-52AA-4369-8FEF-249DA1E0F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4166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75615" y="80073"/>
            <a:ext cx="661181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ИНВЕСТИЦИЯЛЫҚ ҚЫЗМЕТІ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2695" y="880681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40165" y="8783955"/>
            <a:ext cx="1069975" cy="314586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3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29DC4-B716-4760-9670-6F594165101E}"/>
              </a:ext>
            </a:extLst>
          </p:cNvPr>
          <p:cNvSpPr/>
          <p:nvPr/>
        </p:nvSpPr>
        <p:spPr>
          <a:xfrm>
            <a:off x="133430" y="505153"/>
            <a:ext cx="649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98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ортфель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рық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ала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кер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150,3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рд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тең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тіл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7,3% (96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D781A65C-2AFB-472D-B665-6BC1C80663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1574929"/>
              </p:ext>
            </p:extLst>
          </p:nvPr>
        </p:nvGraphicFramePr>
        <p:xfrm>
          <a:off x="1073672" y="1319905"/>
          <a:ext cx="4865533" cy="2447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692D906-33A9-4418-B90A-1B168B729DFA}"/>
              </a:ext>
            </a:extLst>
          </p:cNvPr>
          <p:cNvSpPr/>
          <p:nvPr/>
        </p:nvSpPr>
        <p:spPr>
          <a:xfrm>
            <a:off x="228600" y="4259411"/>
            <a:ext cx="634319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кларация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н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здей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зб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имит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кіме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қынд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алас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ҚР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15.06.2023 ж. №473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аулыс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валют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тығ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мел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тығ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мтыл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митентт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реди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йтинг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"ВВ-"кем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нк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митент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ими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0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д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фляция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сан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ліз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н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FFC47-F6CB-4ADC-B82E-96CD4C241042}"/>
              </a:ext>
            </a:extLst>
          </p:cNvPr>
          <p:cNvSpPr/>
          <p:nvPr/>
        </p:nvSpPr>
        <p:spPr>
          <a:xfrm>
            <a:off x="1916165" y="1059050"/>
            <a:ext cx="270779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қару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сы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34D1EA-C0D7-4B32-87B9-15F1F6312EA2}"/>
              </a:ext>
            </a:extLst>
          </p:cNvPr>
          <p:cNvSpPr txBox="1"/>
          <p:nvPr/>
        </p:nvSpPr>
        <p:spPr>
          <a:xfrm>
            <a:off x="1666106" y="6286392"/>
            <a:ext cx="296427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портфель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D22A7ED-1BA7-43A9-97BB-7C580C9F94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2215506"/>
              </p:ext>
            </p:extLst>
          </p:nvPr>
        </p:nvGraphicFramePr>
        <p:xfrm>
          <a:off x="437575" y="6487946"/>
          <a:ext cx="2624907" cy="227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4D4CAAE-9613-4290-A649-9D7EBF8E4DB9}"/>
              </a:ext>
            </a:extLst>
          </p:cNvPr>
          <p:cNvSpPr/>
          <p:nvPr/>
        </p:nvSpPr>
        <p:spPr>
          <a:xfrm>
            <a:off x="228600" y="3816641"/>
            <a:ext cx="63431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імгерл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кларация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A227989-143A-4ED7-9E5E-AC1711A67797}"/>
              </a:ext>
            </a:extLst>
          </p:cNvPr>
          <p:cNvCxnSpPr>
            <a:cxnSpLocks/>
          </p:cNvCxnSpPr>
          <p:nvPr/>
        </p:nvCxnSpPr>
        <p:spPr>
          <a:xfrm flipV="1">
            <a:off x="10875" y="39707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0334B971-053D-43AA-9A52-0E94F7656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8301310"/>
              </p:ext>
            </p:extLst>
          </p:nvPr>
        </p:nvGraphicFramePr>
        <p:xfrm>
          <a:off x="3506438" y="6685617"/>
          <a:ext cx="2971650" cy="1910595"/>
        </p:xfrm>
        <a:graphic>
          <a:graphicData uri="http://schemas.openxmlformats.org/drawingml/2006/table">
            <a:tbl>
              <a:tblPr firstRow="1" bandRow="1"/>
              <a:tblGrid>
                <a:gridCol w="1214493">
                  <a:extLst>
                    <a:ext uri="{9D8B030D-6E8A-4147-A177-3AD203B41FA5}">
                      <a16:colId xmlns:a16="http://schemas.microsoft.com/office/drawing/2014/main" val="4211547870"/>
                    </a:ext>
                  </a:extLst>
                </a:gridCol>
                <a:gridCol w="1119208">
                  <a:extLst>
                    <a:ext uri="{9D8B030D-6E8A-4147-A177-3AD203B41FA5}">
                      <a16:colId xmlns:a16="http://schemas.microsoft.com/office/drawing/2014/main" val="4127923461"/>
                    </a:ext>
                  </a:extLst>
                </a:gridCol>
                <a:gridCol w="637949">
                  <a:extLst>
                    <a:ext uri="{9D8B030D-6E8A-4147-A177-3AD203B41FA5}">
                      <a16:colId xmlns:a16="http://schemas.microsoft.com/office/drawing/2014/main" val="3176418259"/>
                    </a:ext>
                  </a:extLst>
                </a:gridCol>
              </a:tblGrid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ржы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ралдарының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лынған</a:t>
                      </a:r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ражаттың</a:t>
                      </a:r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ны</a:t>
                      </a:r>
                      <a:endParaRPr lang="en-US" sz="7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  %</a:t>
                      </a:r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695232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Р ҚМ МБҚ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49,7 млрд. 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kk-KZ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5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4809769"/>
                  </a:ext>
                </a:extLst>
              </a:tr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генттік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лигациялар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вазимемлекеттік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сектор)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48,4 млрд.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1,6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363695"/>
                  </a:ext>
                </a:extLst>
              </a:tr>
              <a:tr h="250045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МҚҰ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лигациялары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2,1 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лрд.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7721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ҚР ҰБ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епозиттері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1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01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248173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150,3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7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500554"/>
                  </a:ext>
                </a:extLst>
              </a:tr>
            </a:tbl>
          </a:graphicData>
        </a:graphic>
      </p:graphicFrame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6B7A88C-5C06-4369-9184-5F5A8A84EA7E}"/>
              </a:ext>
            </a:extLst>
          </p:cNvPr>
          <p:cNvSpPr/>
          <p:nvPr/>
        </p:nvSpPr>
        <p:spPr>
          <a:xfrm>
            <a:off x="3571875" y="7239001"/>
            <a:ext cx="104775" cy="95250"/>
          </a:xfrm>
          <a:prstGeom prst="rect">
            <a:avLst/>
          </a:prstGeom>
          <a:solidFill>
            <a:srgbClr val="0088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E67D7C0-1A32-4D85-8DBB-C0061CC941AD}"/>
              </a:ext>
            </a:extLst>
          </p:cNvPr>
          <p:cNvSpPr/>
          <p:nvPr/>
        </p:nvSpPr>
        <p:spPr>
          <a:xfrm>
            <a:off x="3581400" y="7634288"/>
            <a:ext cx="104775" cy="952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C479E5A-A227-4C12-8B89-5D578780E691}"/>
              </a:ext>
            </a:extLst>
          </p:cNvPr>
          <p:cNvSpPr/>
          <p:nvPr/>
        </p:nvSpPr>
        <p:spPr>
          <a:xfrm>
            <a:off x="3581400" y="7962901"/>
            <a:ext cx="104775" cy="95250"/>
          </a:xfrm>
          <a:prstGeom prst="rect">
            <a:avLst/>
          </a:prstGeom>
          <a:solidFill>
            <a:srgbClr val="0D53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D1256DC-5B62-47ED-8B53-62EE6F59AF34}"/>
              </a:ext>
            </a:extLst>
          </p:cNvPr>
          <p:cNvSpPr/>
          <p:nvPr/>
        </p:nvSpPr>
        <p:spPr>
          <a:xfrm>
            <a:off x="3581400" y="8220076"/>
            <a:ext cx="104775" cy="952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513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24853" y="588370"/>
            <a:ext cx="612407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1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м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и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уар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у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99,5% -.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м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ма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ж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з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н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б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</a:p>
        </p:txBody>
      </p:sp>
      <p:graphicFrame>
        <p:nvGraphicFramePr>
          <p:cNvPr id="9" name="Диаграмма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3043533"/>
              </p:ext>
            </p:extLst>
          </p:nvPr>
        </p:nvGraphicFramePr>
        <p:xfrm>
          <a:off x="108714" y="1847962"/>
          <a:ext cx="6220325" cy="2443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24853" y="4389183"/>
            <a:ext cx="62323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ле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98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77,2%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6" name="Диаграмма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0890819"/>
              </p:ext>
            </p:extLst>
          </p:nvPr>
        </p:nvGraphicFramePr>
        <p:xfrm>
          <a:off x="596832" y="5359325"/>
          <a:ext cx="5709279" cy="2505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4CC5C636-0DD4-4AF0-B7FA-523F1D411507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 САТЫП АЛУ ТӘЖІРИБЕСІ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A6B40CCC-89CF-4283-9EA1-3133771C3176}"/>
              </a:ext>
            </a:extLst>
          </p:cNvPr>
          <p:cNvCxnSpPr>
            <a:cxnSpLocks/>
          </p:cNvCxnSpPr>
          <p:nvPr/>
        </p:nvCxnSpPr>
        <p:spPr>
          <a:xfrm flipV="1">
            <a:off x="0" y="4322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134C20D-2C68-4074-BD26-C13791BCC56F}"/>
              </a:ext>
            </a:extLst>
          </p:cNvPr>
          <p:cNvSpPr txBox="1"/>
          <p:nvPr/>
        </p:nvSpPr>
        <p:spPr>
          <a:xfrm>
            <a:off x="247680" y="1858351"/>
            <a:ext cx="64315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050" b="1" dirty="0">
                <a:latin typeface="Arial" panose="020B0604020202020204" pitchFamily="34" charset="0"/>
                <a:cs typeface="Arial" panose="020B0604020202020204" pitchFamily="34" charset="0"/>
              </a:rPr>
              <a:t>Сатып алынған тауарлардың, жұмыстардың, көрсетілетін қызметтердің көлемі (</a:t>
            </a:r>
            <a:r>
              <a:rPr lang="kk-KZ" sz="1050" b="1" i="1" dirty="0">
                <a:latin typeface="Arial" panose="020B0604020202020204" pitchFamily="34" charset="0"/>
                <a:cs typeface="Arial" panose="020B0604020202020204" pitchFamily="34" charset="0"/>
              </a:rPr>
              <a:t>млн. теңге</a:t>
            </a:r>
            <a:r>
              <a:rPr lang="kk-KZ" sz="105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37E77CC-BA15-4AA7-A21A-1931FCAB9BE9}"/>
              </a:ext>
            </a:extLst>
          </p:cNvPr>
          <p:cNvSpPr/>
          <p:nvPr/>
        </p:nvSpPr>
        <p:spPr>
          <a:xfrm>
            <a:off x="426243" y="7864680"/>
            <a:ext cx="6130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ст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ұра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сіл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36%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7886315-E4BB-45A0-8662-4039A5678A0D}"/>
              </a:ext>
            </a:extLst>
          </p:cNvPr>
          <p:cNvSpPr/>
          <p:nvPr/>
        </p:nvSpPr>
        <p:spPr>
          <a:xfrm>
            <a:off x="717243" y="5029403"/>
            <a:ext cx="49574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r>
              <a:rPr lang="ru-RU" sz="1050" b="1" dirty="0" err="1"/>
              <a:t>Мемлекеттік</a:t>
            </a:r>
            <a:r>
              <a:rPr lang="ru-RU" sz="1050" b="1" dirty="0"/>
              <a:t> </a:t>
            </a:r>
            <a:r>
              <a:rPr lang="ru-RU" sz="1050" b="1" dirty="0" err="1"/>
              <a:t>сатып</a:t>
            </a:r>
            <a:r>
              <a:rPr lang="ru-RU" sz="1050" b="1" dirty="0"/>
              <a:t> </a:t>
            </a:r>
            <a:r>
              <a:rPr lang="ru-RU" sz="1050" b="1" dirty="0" err="1"/>
              <a:t>алуды</a:t>
            </a:r>
            <a:r>
              <a:rPr lang="ru-RU" sz="1050" b="1" dirty="0"/>
              <a:t> </a:t>
            </a:r>
            <a:r>
              <a:rPr lang="ru-RU" sz="1050" b="1" dirty="0" err="1"/>
              <a:t>жүзеге</a:t>
            </a:r>
            <a:r>
              <a:rPr lang="ru-RU" sz="1050" b="1" dirty="0"/>
              <a:t> </a:t>
            </a:r>
            <a:r>
              <a:rPr lang="ru-RU" sz="1050" b="1" dirty="0" err="1"/>
              <a:t>асыру</a:t>
            </a:r>
            <a:r>
              <a:rPr lang="ru-RU" sz="1050" b="1" dirty="0"/>
              <a:t> </a:t>
            </a:r>
            <a:r>
              <a:rPr lang="ru-RU" sz="1050" b="1" dirty="0" err="1"/>
              <a:t>тәсілдері</a:t>
            </a:r>
            <a:endParaRPr lang="ru-RU" sz="1050" b="1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3F4E5C-7632-4C3F-9DE8-61E9D9C82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>
            <a:off x="1804737" y="1200910"/>
            <a:ext cx="49209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ілдед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ші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ді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D9A3A7-425B-4AEB-A125-B79E389D150E}"/>
              </a:ext>
            </a:extLst>
          </p:cNvPr>
          <p:cNvSpPr txBox="1"/>
          <p:nvPr/>
        </p:nvSpPr>
        <p:spPr>
          <a:xfrm>
            <a:off x="1804737" y="3198894"/>
            <a:ext cx="481674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еген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ілімі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ген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22099E-55FE-44C1-AAAF-503AC87C3D7F}"/>
              </a:ext>
            </a:extLst>
          </p:cNvPr>
          <p:cNvSpPr txBox="1"/>
          <p:nvPr/>
        </p:nvSpPr>
        <p:spPr>
          <a:xfrm>
            <a:off x="1804738" y="4468451"/>
            <a:ext cx="471646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н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ЕХӘҚМ "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деу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дулін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ш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endParaRPr lang="ru-KZ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D8E3D8E-0941-466F-8142-38B281421CB7}"/>
              </a:ext>
            </a:extLst>
          </p:cNvPr>
          <p:cNvSpPr txBox="1"/>
          <p:nvPr/>
        </p:nvSpPr>
        <p:spPr>
          <a:xfrm>
            <a:off x="1792984" y="5883773"/>
            <a:ext cx="472822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лар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– дан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т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01.01.2023 ж. </a:t>
            </a:r>
            <a:r>
              <a:rPr lang="ru-RU" sz="12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8,5% - </a:t>
            </a:r>
            <a:r>
              <a:rPr lang="ru-RU" sz="12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01.07.2023 ж. бастап-14,5% - </a:t>
            </a:r>
            <a:r>
              <a:rPr lang="ru-RU" sz="12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sz="12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E9E5108-FB51-4B2E-9E04-05009432681B}"/>
              </a:ext>
            </a:extLst>
          </p:cNvPr>
          <p:cNvSpPr txBox="1"/>
          <p:nvPr/>
        </p:nvSpPr>
        <p:spPr>
          <a:xfrm>
            <a:off x="1804737" y="7083651"/>
            <a:ext cx="481674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здер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"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, "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иржас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алдар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нш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дег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нкт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Е-макет" ААЖ-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еті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кеттері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томатт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д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8">
            <a:extLst>
              <a:ext uri="{FF2B5EF4-FFF2-40B4-BE49-F238E27FC236}">
                <a16:creationId xmlns:a16="http://schemas.microsoft.com/office/drawing/2014/main" id="{4ADD05D3-E53F-40E9-AD53-B373E257E38C}"/>
              </a:ext>
            </a:extLst>
          </p:cNvPr>
          <p:cNvSpPr txBox="1"/>
          <p:nvPr/>
        </p:nvSpPr>
        <p:spPr>
          <a:xfrm>
            <a:off x="301624" y="234755"/>
            <a:ext cx="5863590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ЖЫЛДЫҢ НЕГІЗГІ ОҚИҒАЛАРЫ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58BB0EE-18D4-42E3-9D26-AC99E6E0F517}"/>
              </a:ext>
            </a:extLst>
          </p:cNvPr>
          <p:cNvCxnSpPr>
            <a:cxnSpLocks/>
          </p:cNvCxnSpPr>
          <p:nvPr/>
        </p:nvCxnSpPr>
        <p:spPr>
          <a:xfrm flipV="1">
            <a:off x="0" y="67281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018A5A0-C016-43C1-98A2-8950BDDD1690}"/>
              </a:ext>
            </a:extLst>
          </p:cNvPr>
          <p:cNvSpPr txBox="1"/>
          <p:nvPr/>
        </p:nvSpPr>
        <p:spPr>
          <a:xfrm>
            <a:off x="1804737" y="2196327"/>
            <a:ext cx="4728220" cy="430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2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-құқықт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іс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нды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Линейчатая диаграмма с тенденцией к повышению">
            <a:extLst>
              <a:ext uri="{FF2B5EF4-FFF2-40B4-BE49-F238E27FC236}">
                <a16:creationId xmlns:a16="http://schemas.microsoft.com/office/drawing/2014/main" id="{C5C595D8-BA56-4A82-80F0-AC27BF16E9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7010" y="5965551"/>
            <a:ext cx="722121" cy="722121"/>
          </a:xfrm>
          <a:prstGeom prst="rect">
            <a:avLst/>
          </a:prstGeom>
        </p:spPr>
      </p:pic>
      <p:pic>
        <p:nvPicPr>
          <p:cNvPr id="5" name="Рисунок 4" descr="Документ">
            <a:extLst>
              <a:ext uri="{FF2B5EF4-FFF2-40B4-BE49-F238E27FC236}">
                <a16:creationId xmlns:a16="http://schemas.microsoft.com/office/drawing/2014/main" id="{4025685A-A9CF-4C03-AC16-1B837F3D873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11209" y="1980640"/>
            <a:ext cx="733724" cy="733724"/>
          </a:xfrm>
          <a:prstGeom prst="rect">
            <a:avLst/>
          </a:prstGeom>
        </p:spPr>
      </p:pic>
      <p:pic>
        <p:nvPicPr>
          <p:cNvPr id="17" name="Рисунок 16" descr="Закрытая книга">
            <a:extLst>
              <a:ext uri="{FF2B5EF4-FFF2-40B4-BE49-F238E27FC236}">
                <a16:creationId xmlns:a16="http://schemas.microsoft.com/office/drawing/2014/main" id="{CF4F5309-1631-4BF3-A113-65ED29A64D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63127" y="1022859"/>
            <a:ext cx="786988" cy="786988"/>
          </a:xfrm>
          <a:prstGeom prst="rect">
            <a:avLst/>
          </a:prstGeom>
        </p:spPr>
      </p:pic>
      <p:pic>
        <p:nvPicPr>
          <p:cNvPr id="19" name="Рисунок 18" descr="База данных">
            <a:extLst>
              <a:ext uri="{FF2B5EF4-FFF2-40B4-BE49-F238E27FC236}">
                <a16:creationId xmlns:a16="http://schemas.microsoft.com/office/drawing/2014/main" id="{66DE7035-D981-47B3-B46A-76413CAA7E5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23934" y="3215516"/>
            <a:ext cx="786990" cy="786990"/>
          </a:xfrm>
          <a:prstGeom prst="rect">
            <a:avLst/>
          </a:prstGeom>
        </p:spPr>
      </p:pic>
      <p:pic>
        <p:nvPicPr>
          <p:cNvPr id="25" name="Рисунок 24" descr="Реклама">
            <a:extLst>
              <a:ext uri="{FF2B5EF4-FFF2-40B4-BE49-F238E27FC236}">
                <a16:creationId xmlns:a16="http://schemas.microsoft.com/office/drawing/2014/main" id="{EC7CC0F7-F9D8-4AF8-A9D4-184736F3E70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45190" y="7313274"/>
            <a:ext cx="812475" cy="812475"/>
          </a:xfrm>
          <a:prstGeom prst="rect">
            <a:avLst/>
          </a:prstGeom>
        </p:spPr>
      </p:pic>
      <p:pic>
        <p:nvPicPr>
          <p:cNvPr id="32" name="Рисунок 31" descr="Синхронизация облака">
            <a:extLst>
              <a:ext uri="{FF2B5EF4-FFF2-40B4-BE49-F238E27FC236}">
                <a16:creationId xmlns:a16="http://schemas.microsoft.com/office/drawing/2014/main" id="{9059547F-305F-44F3-B4B4-B66CDACB6259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45190" y="4460430"/>
            <a:ext cx="812475" cy="812475"/>
          </a:xfrm>
          <a:prstGeom prst="rect">
            <a:avLst/>
          </a:prstGeom>
        </p:spPr>
      </p:pic>
      <p:sp>
        <p:nvSpPr>
          <p:cNvPr id="16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9215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90A858-8D2E-4762-8DB2-D91940D7734A}"/>
              </a:ext>
            </a:extLst>
          </p:cNvPr>
          <p:cNvSpPr/>
          <p:nvPr/>
        </p:nvSpPr>
        <p:spPr>
          <a:xfrm>
            <a:off x="198179" y="729198"/>
            <a:ext cx="3230821" cy="7017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истема по управления в ГФСС базируется на руководстве Международной ассоциации социального обеспечения по актуарной деятельности и включает в себя: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литику по управлению рисками ГФСС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егистр рисков ГФСС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авила идентификации и оценки рисков ГФСС 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ункционирование системы управления рисками  осуществляется по следующим процедурам:</a:t>
            </a: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МӘСҚ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и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пера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ынд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ым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иғ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д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а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м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иғ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ырлығ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нат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н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те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ы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г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иғ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рде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ады.событи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и выработкой рекомендаций.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 БАСҚАРУ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 flipV="1">
            <a:off x="0" y="50551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6ED71211-2D0D-4164-959C-256E5BEEE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2811366"/>
              </p:ext>
            </p:extLst>
          </p:nvPr>
        </p:nvGraphicFramePr>
        <p:xfrm>
          <a:off x="403889" y="2552700"/>
          <a:ext cx="2819400" cy="1501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88B5E8A-DD78-4EFB-8894-AFDDB139E6EC}"/>
              </a:ext>
            </a:extLst>
          </p:cNvPr>
          <p:cNvSpPr/>
          <p:nvPr/>
        </p:nvSpPr>
        <p:spPr>
          <a:xfrm>
            <a:off x="3541394" y="729198"/>
            <a:ext cx="3118426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лығ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МӘС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д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мел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раметр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с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еу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р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тист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рект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мограф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рдіс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кроэконом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раметр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их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рек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кер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ш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рек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жам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де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 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ессими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най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птими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ұсқалар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уі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визия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н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й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  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жабу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ры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ңт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ел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зерв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нк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от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нб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дығ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7143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105851" y="787509"/>
            <a:ext cx="63463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сонал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зімд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7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ппара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МӘСҚ –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ңі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ойынша-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67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DD361B3-D367-404A-AE5B-E4D58521A055}"/>
              </a:ext>
            </a:extLst>
          </p:cNvPr>
          <p:cNvGrpSpPr/>
          <p:nvPr/>
        </p:nvGrpSpPr>
        <p:grpSpPr>
          <a:xfrm>
            <a:off x="1708421" y="1277688"/>
            <a:ext cx="3808350" cy="2570170"/>
            <a:chOff x="66517" y="1597478"/>
            <a:chExt cx="3808350" cy="2164671"/>
          </a:xfrm>
        </p:grpSpPr>
        <p:graphicFrame>
          <p:nvGraphicFramePr>
            <p:cNvPr id="7" name="Диаграмма 6">
              <a:extLst>
                <a:ext uri="{FF2B5EF4-FFF2-40B4-BE49-F238E27FC236}">
                  <a16:creationId xmlns:a16="http://schemas.microsoft.com/office/drawing/2014/main" id="{FB739C34-C760-4D3E-9287-57327E95C0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69322657"/>
                </p:ext>
              </p:extLst>
            </p:nvPr>
          </p:nvGraphicFramePr>
          <p:xfrm>
            <a:off x="66517" y="1851394"/>
            <a:ext cx="3808350" cy="1910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DE29C9E-8C00-4736-900E-1561C88252F6}"/>
                </a:ext>
              </a:extLst>
            </p:cNvPr>
            <p:cNvSpPr/>
            <p:nvPr/>
          </p:nvSpPr>
          <p:spPr>
            <a:xfrm>
              <a:off x="336095" y="1597478"/>
              <a:ext cx="2880000" cy="2138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ерсоналдың</a:t>
              </a:r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жас</a:t>
              </a:r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құрылымы</a:t>
              </a:r>
              <a:endParaRPr lang="ru-KZ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8578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ЫҚ ӘЛЕУЕТ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И КАПИТАЛДЫ ДАМЫТУ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 flipV="1">
            <a:off x="0" y="65947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C674882-A6DF-4FE0-872F-0A9F26FC6E52}"/>
              </a:ext>
            </a:extLst>
          </p:cNvPr>
          <p:cNvSpPr/>
          <p:nvPr/>
        </p:nvSpPr>
        <p:spPr>
          <a:xfrm>
            <a:off x="1823652" y="3424412"/>
            <a:ext cx="31886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9C9F303-49FD-4C59-8BC3-830CEC002172}"/>
              </a:ext>
            </a:extLst>
          </p:cNvPr>
          <p:cNvSpPr/>
          <p:nvPr/>
        </p:nvSpPr>
        <p:spPr>
          <a:xfrm>
            <a:off x="293337" y="5086795"/>
            <a:ext cx="619890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еңгейд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териалдық-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у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ониторингі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ыс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спар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-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үйемелде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йлест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Т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йлест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атистика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спар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еу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і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ле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Өңірлік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еңгейд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кет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й-күй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зғал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еру.</a:t>
            </a:r>
            <a:endParaRPr lang="ru-K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8F8B46F3-7FD7-417B-A6B5-5EE903B1A9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9991226"/>
              </p:ext>
            </p:extLst>
          </p:nvPr>
        </p:nvGraphicFramePr>
        <p:xfrm>
          <a:off x="293337" y="3986415"/>
          <a:ext cx="6198901" cy="9943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5367491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1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694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0242B90-91EE-43C3-AFB2-1AB438EEBCF5}"/>
              </a:ext>
            </a:extLst>
          </p:cNvPr>
          <p:cNvSpPr/>
          <p:nvPr/>
        </p:nvSpPr>
        <p:spPr>
          <a:xfrm>
            <a:off x="3571822" y="755570"/>
            <a:ext cx="3052963" cy="7940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ылдан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п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ұсқам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ң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ез-құл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де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д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үддел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қтығыс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ясатп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уіпсізд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уіпсізд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жаттар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ныс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СҚ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дени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-шаралар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я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ңыр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гед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биел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басы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м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ырымд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м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 </a:t>
            </a:r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теп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я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басы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рек-жарақ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т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өмк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Аманат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ртия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ап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МКҚК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әкірт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пе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л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ат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л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йылы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г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арафо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дагер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йдан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ба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керле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мкінд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ктеул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аз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басы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мі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и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ап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йелде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м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саң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ап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МКҚК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әкірт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лық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жы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л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дени-ағар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Алжир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уғын-сүр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оталитариз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банд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ұражай-мемори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шен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у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ахма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ахма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йб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ни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саң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футбо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ни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4E2E1B8-96F3-49E0-9FBD-72EA8F8EA3AC}"/>
              </a:ext>
            </a:extLst>
          </p:cNvPr>
          <p:cNvSpPr/>
          <p:nvPr/>
        </p:nvSpPr>
        <p:spPr>
          <a:xfrm>
            <a:off x="185158" y="764174"/>
            <a:ext cx="330099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телг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биліг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ыту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ай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у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тізбе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пт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д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тес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 Бас директоры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е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пт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с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б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 филиалы д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уап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ол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пт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ектіліг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тес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торл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Р ҚМ, ҚР ЕХӘҚМ, ҚР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тіг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ілд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стан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с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омствоар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н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т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дья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пт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ылу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8578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ЫҚ ӘЛЕУЕТ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И КАПИТАЛДЫ ДАМЫТУ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 flipV="1">
            <a:off x="61" y="635269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E6DD539-7CD9-4287-A183-BFF369057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749046"/>
              </p:ext>
            </p:extLst>
          </p:nvPr>
        </p:nvGraphicFramePr>
        <p:xfrm>
          <a:off x="301769" y="4682916"/>
          <a:ext cx="3052961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7153">
                  <a:extLst>
                    <a:ext uri="{9D8B030D-6E8A-4147-A177-3AD203B41FA5}">
                      <a16:colId xmlns:a16="http://schemas.microsoft.com/office/drawing/2014/main" val="660740484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3872959267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1024146724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3727215047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646408786"/>
                    </a:ext>
                  </a:extLst>
                </a:gridCol>
              </a:tblGrid>
              <a:tr h="194369">
                <a:tc rowSpan="2">
                  <a:txBody>
                    <a:bodyPr/>
                    <a:lstStyle/>
                    <a:p>
                      <a:pPr algn="ctr"/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dirty="0">
                        <a:solidFill>
                          <a:srgbClr val="1F4E79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dirty="0">
                        <a:solidFill>
                          <a:srgbClr val="1F4E79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256999"/>
                  </a:ext>
                </a:extLst>
              </a:tr>
              <a:tr h="248443">
                <a:tc vMerge="1">
                  <a:txBody>
                    <a:bodyPr/>
                    <a:lstStyle/>
                    <a:p>
                      <a:endParaRPr lang="ru-KZ" sz="1200" dirty="0">
                        <a:solidFill>
                          <a:srgbClr val="1F4E7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i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сте</a:t>
                      </a:r>
                      <a:r>
                        <a:rPr lang="ru-RU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i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стеден</a:t>
                      </a:r>
                      <a:r>
                        <a:rPr lang="ru-RU" sz="800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KZ" sz="800" i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i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сте</a:t>
                      </a:r>
                      <a:r>
                        <a:rPr lang="ru-RU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i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стеден</a:t>
                      </a:r>
                      <a:r>
                        <a:rPr lang="ru-RU" sz="800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KZ" sz="800" i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666018"/>
                  </a:ext>
                </a:extLst>
              </a:tr>
              <a:tr h="198179">
                <a:tc>
                  <a:txBody>
                    <a:bodyPr/>
                    <a:lstStyle/>
                    <a:p>
                      <a:r>
                        <a:rPr lang="ru-RU" sz="8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рталы</a:t>
                      </a:r>
                      <a:r>
                        <a:rPr lang="kk-KZ" sz="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аппарат</a:t>
                      </a:r>
                      <a:endParaRPr lang="ru-KZ" sz="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26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7*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89063"/>
                  </a:ext>
                </a:extLst>
              </a:tr>
              <a:tr h="184844">
                <a:tc>
                  <a:txBody>
                    <a:bodyPr/>
                    <a:lstStyle/>
                    <a:p>
                      <a:r>
                        <a:rPr lang="ru-RU" sz="8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илиалдар</a:t>
                      </a:r>
                      <a:endParaRPr lang="ru-KZ" sz="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3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4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1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247181"/>
                  </a:ext>
                </a:extLst>
              </a:tr>
            </a:tbl>
          </a:graphicData>
        </a:graphic>
      </p:graphicFrame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0A56204-FE3D-4A84-B735-CC65CCCD7180}"/>
              </a:ext>
            </a:extLst>
          </p:cNvPr>
          <p:cNvSpPr/>
          <p:nvPr/>
        </p:nvSpPr>
        <p:spPr>
          <a:xfrm>
            <a:off x="180975" y="5953398"/>
            <a:ext cx="31356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**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ақырыпта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жоспарда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дәрісте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өткізілд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:«</a:t>
            </a:r>
          </a:p>
          <a:p>
            <a:pPr marL="228600" indent="-228600" algn="just">
              <a:buAutoNum type="arabicParenR"/>
              <a:defRPr/>
            </a:pP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Инновацияның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негіздер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</a:p>
          <a:p>
            <a:pPr marL="228600" indent="-228600" algn="just">
              <a:buAutoNum type="arabicParenR"/>
              <a:defRPr/>
            </a:pP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"ҚР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сырудағ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НҚА".  </a:t>
            </a:r>
          </a:p>
          <a:p>
            <a:pPr marL="228600" indent="-228600" algn="just">
              <a:buAutoNum type="arabicParenR"/>
              <a:defRPr/>
            </a:pP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"ДЭМЭ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алдау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арысынд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ескертуле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kumimoji="0" lang="ru-KZ" sz="8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9FD99E-582F-4623-8FE8-7697C9F86430}"/>
              </a:ext>
            </a:extLst>
          </p:cNvPr>
          <p:cNvSpPr/>
          <p:nvPr/>
        </p:nvSpPr>
        <p:spPr>
          <a:xfrm>
            <a:off x="185158" y="6922723"/>
            <a:ext cx="330099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с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елелер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қырып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36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шар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ындар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қыту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онлай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жим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ппарат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илиалд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6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езиден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адемияс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мақ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илиалдар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ліктілік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урстар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ертификатта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779CD71-F684-4840-8159-3B80B9DA5947}"/>
              </a:ext>
            </a:extLst>
          </p:cNvPr>
          <p:cNvSpPr/>
          <p:nvPr/>
        </p:nvSpPr>
        <p:spPr>
          <a:xfrm>
            <a:off x="3224" y="4342154"/>
            <a:ext cx="353569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кі</a:t>
            </a:r>
            <a:r>
              <a:rPr lang="ru-RU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қырыптық</a:t>
            </a:r>
            <a:r>
              <a:rPr lang="ru-RU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ерттеулердің</a:t>
            </a:r>
            <a:r>
              <a:rPr lang="ru-RU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CEA0A2D-FC73-4731-8813-3EBC2344F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033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4159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599" y="489474"/>
            <a:ext cx="3204000" cy="838947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1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ыңғ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а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й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уымдастығ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МАСО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қ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ілде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новация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сси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ғ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дарланғ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қырыб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нлайн вебин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бинарда спикер болып бас директор Н. М. Камел сөз сөйледі, оның сөзінде Қазақстандағы адам орталықтылығы жүйесіне баса назар аударылды, мемлекеттік қызметтер көрсету үшін цифрлық өнімдерді енгізу тақырыбы ашылды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8-29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т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ты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ЖЗҚ МАСО-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нтымақтастық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нақта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ала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л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спектив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өңгел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ст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с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м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.М.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М.А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бек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ек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тел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рап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.Премьер-Минист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бас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. К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үйсен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МАСО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зиден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ұхаммед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ман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с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ы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м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ын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қы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бас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ма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.Марков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тт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с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-6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ы М. А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бек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АСО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тт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гедект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с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онлайн)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ермания, Канада, Венгрия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ңтүс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рея, Польша, Молдова, Ом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лд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жірибелер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краина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сқын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қ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ш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СО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уропа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з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кт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қа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қырып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йынд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б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, </a:t>
            </a: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рталы»</a:t>
            </a: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ирж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. </a:t>
            </a:r>
          </a:p>
          <a:p>
            <a:pPr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угалия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Порт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6-1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уір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ма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ум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л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қ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рамоталар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рапат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АСО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ха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8" name="Рисунок 7" descr="https://primeminister.kz/assets/media/2_212.jpg"/>
          <p:cNvPicPr/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806" y="572061"/>
            <a:ext cx="3027998" cy="191315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object 8">
            <a:extLst>
              <a:ext uri="{FF2B5EF4-FFF2-40B4-BE49-F238E27FC236}">
                <a16:creationId xmlns:a16="http://schemas.microsoft.com/office/drawing/2014/main" id="{A86AFF8D-225A-4C52-941C-4C7F61302D06}"/>
              </a:ext>
            </a:extLst>
          </p:cNvPr>
          <p:cNvSpPr txBox="1"/>
          <p:nvPr/>
        </p:nvSpPr>
        <p:spPr>
          <a:xfrm>
            <a:off x="85786" y="5719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 ЫНТЫМАҚТАСТЫҚ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8E8272A-3E25-40A6-BDD7-FDCAB38B7855}"/>
              </a:ext>
            </a:extLst>
          </p:cNvPr>
          <p:cNvCxnSpPr>
            <a:cxnSpLocks/>
          </p:cNvCxnSpPr>
          <p:nvPr/>
        </p:nvCxnSpPr>
        <p:spPr>
          <a:xfrm flipV="1">
            <a:off x="0" y="434059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24A227D-5DFE-414D-A665-381C1F48D1CD}"/>
              </a:ext>
            </a:extLst>
          </p:cNvPr>
          <p:cNvSpPr/>
          <p:nvPr/>
        </p:nvSpPr>
        <p:spPr>
          <a:xfrm>
            <a:off x="3495512" y="2844043"/>
            <a:ext cx="3166586" cy="4465325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-7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сик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татта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ехико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уарий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тистик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АСО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ман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1-ш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нферен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нференция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л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д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блем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қты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новация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қырыб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қы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АСО-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1 онлайн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бинарын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на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новаци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бас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рдемақ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тт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гедект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рыл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lnSpc>
                <a:spcPts val="1100"/>
              </a:lnSpc>
              <a:tabLst>
                <a:tab pos="4902077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нтымақтас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іміз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тас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әрм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CBC4B5C-1591-4C41-AB83-EFE4C9185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91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63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6858000" cy="176106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2178049" y="479645"/>
            <a:ext cx="4563533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ші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ице-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А. Ә.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рбасовтың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ндеуі</a:t>
            </a:r>
            <a:endParaRPr lang="ru-KZ" sz="140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617058" y="1767632"/>
            <a:ext cx="32376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04792" algn="ctr"/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ті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дықтар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  <a:endParaRPr lang="ru-KZ" sz="1467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223626" y="2210214"/>
            <a:ext cx="3317597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тей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ол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кш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ыр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те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ллион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с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МӘСҚ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қ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діл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тұта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л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кел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у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псыр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і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ст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эффициен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0% - дан 45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бал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,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лғай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 defTabSz="179388">
              <a:tabLst>
                <a:tab pos="531813" algn="l"/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декст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гедект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рдемақы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у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згіл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8,5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ілдед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4,5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қиғ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лімі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д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імд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ыңғ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з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ысықт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ну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т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б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йтілд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ілдед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іп-тұр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и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пт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гедект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мекші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255025-2F81-46FF-ABAB-9B08AE626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26" y="200026"/>
            <a:ext cx="1492725" cy="14927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8D965C5-FEC6-490F-AF4D-2154D91CFF4A}"/>
              </a:ext>
            </a:extLst>
          </p:cNvPr>
          <p:cNvSpPr/>
          <p:nvPr/>
        </p:nvSpPr>
        <p:spPr>
          <a:xfrm>
            <a:off x="3541223" y="2210214"/>
            <a:ext cx="3088956" cy="670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73038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ық-құқы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патт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лғ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lvl="0" algn="just">
              <a:tabLst>
                <a:tab pos="173038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з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р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па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изне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це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з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гі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8-ден 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кет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ыс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сқар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lvl="0" algn="just" defTabSz="179388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з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з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0%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 </a:t>
            </a:r>
          </a:p>
          <a:p>
            <a:pPr lvl="0" algn="just" defTabSz="179388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т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т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lvl="0" algn="just" defTabSz="179388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т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ауқы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lvl="0" algn="just" defTabSz="179388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ыт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д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пілдік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тте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lvl="0" indent="173038" algn="just">
              <a:buFontTx/>
              <a:buChar char="-"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indent="173038" algn="just">
              <a:buFontTx/>
              <a:buChar char="-"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indent="173038" algn="just">
              <a:buFontTx/>
              <a:buChar char="-"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17" y="881010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81010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925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2"/>
            <a:ext cx="6858000" cy="1874522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1925108" y="564326"/>
            <a:ext cx="397933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04792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МӘСҚ» АҚ 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ғынғазинов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. А.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ндеуі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KZ" sz="14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889106" y="2023991"/>
            <a:ext cx="25376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04792" algn="ctr"/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ті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  <a:endParaRPr lang="ru-KZ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280806" y="2430995"/>
            <a:ext cx="3158429" cy="64017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зиден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қ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у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т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А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2-202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асты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н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қиғ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с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н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дикатор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ункция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на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й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з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ш-жігерім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йт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сқарт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онлай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флай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жим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,3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-751 млрд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202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сінш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,6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0,4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т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85% - дан ас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с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35,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жарамсыздығы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кер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амсыздықт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B4CFAD0-C44C-4B25-9FFF-472C0FF34C2C}"/>
              </a:ext>
            </a:extLst>
          </p:cNvPr>
          <p:cNvSpPr/>
          <p:nvPr/>
        </p:nvSpPr>
        <p:spPr>
          <a:xfrm>
            <a:off x="3554730" y="2462830"/>
            <a:ext cx="3049272" cy="6217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б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шел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ы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г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у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астырс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гедек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рдемақы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ия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фляция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9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6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б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8,5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кін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тыжылдық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4,5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Айта кету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ұнд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ж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пе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жим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еді.Қорытындыл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үкі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жым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қ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ысы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лдірг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ымыз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лес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астыр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м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із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б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ныс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қырам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аз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ғаның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там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049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36C420F-7AF0-4041-8E57-541FEADD4B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26" y="200025"/>
            <a:ext cx="1492725" cy="14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559222" y="104310"/>
            <a:ext cx="588348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3 год</a:t>
            </a:r>
            <a:endParaRPr lang="ru-KZ" sz="20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66000" y="847513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E99ADF80-703A-4C2F-93F0-42C0E3C04FB8}"/>
              </a:ext>
            </a:extLst>
          </p:cNvPr>
          <p:cNvSpPr txBox="1"/>
          <p:nvPr/>
        </p:nvSpPr>
        <p:spPr>
          <a:xfrm>
            <a:off x="232301" y="109323"/>
            <a:ext cx="6537328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НЫҢ 2023 ЖЫЛҒА АРНАЛҒАН ДАМУ ЖОСПАРЫНЫ</a:t>
            </a:r>
            <a:r>
              <a:rPr lang="kk-KZ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Ң</a:t>
            </a:r>
            <a:endParaRPr lang="ru-RU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 КӨРСЕТКІШТЕРІН ОРЫНДАУ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53511A9-CA85-4FA5-B865-3A47AC78948E}"/>
              </a:ext>
            </a:extLst>
          </p:cNvPr>
          <p:cNvCxnSpPr>
            <a:cxnSpLocks/>
          </p:cNvCxnSpPr>
          <p:nvPr/>
        </p:nvCxnSpPr>
        <p:spPr>
          <a:xfrm flipV="1">
            <a:off x="0" y="67281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 txBox="1">
            <a:spLocks/>
          </p:cNvSpPr>
          <p:nvPr/>
        </p:nvSpPr>
        <p:spPr>
          <a:xfrm>
            <a:off x="6426202" y="8798671"/>
            <a:ext cx="412750" cy="2635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A498AE01-33DC-40A1-BF32-B178CA5480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528820"/>
              </p:ext>
            </p:extLst>
          </p:nvPr>
        </p:nvGraphicFramePr>
        <p:xfrm>
          <a:off x="388763" y="953388"/>
          <a:ext cx="6172058" cy="7224732"/>
        </p:xfrm>
        <a:graphic>
          <a:graphicData uri="http://schemas.openxmlformats.org/drawingml/2006/table">
            <a:tbl>
              <a:tblPr firstRow="1" firstCol="1" bandRow="1"/>
              <a:tblGrid>
                <a:gridCol w="417409">
                  <a:extLst>
                    <a:ext uri="{9D8B030D-6E8A-4147-A177-3AD203B41FA5}">
                      <a16:colId xmlns:a16="http://schemas.microsoft.com/office/drawing/2014/main" val="1700033711"/>
                    </a:ext>
                  </a:extLst>
                </a:gridCol>
                <a:gridCol w="2607015">
                  <a:extLst>
                    <a:ext uri="{9D8B030D-6E8A-4147-A177-3AD203B41FA5}">
                      <a16:colId xmlns:a16="http://schemas.microsoft.com/office/drawing/2014/main" val="975539595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3501998398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20550559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4384157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525117730"/>
                    </a:ext>
                  </a:extLst>
                </a:gridCol>
              </a:tblGrid>
              <a:tr h="428474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кіш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оспар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рындау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1934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ндег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мтылға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халықты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i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4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6,1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8,1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061"/>
                  </a:ext>
                </a:extLst>
              </a:tr>
              <a:tr h="100025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елгілен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іс-шаралар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нын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әселелер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өңірлерде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қпараттық-түсінді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ұмысы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өткізіл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іс-шараларды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1,2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1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27501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дерд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ғайында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уақтылы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уді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27638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Электрондық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ысандағы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дерд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ғайында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іл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ерді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9,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19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714932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орда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еңбекке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білеттілігін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йырылға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ағдайда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бысы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лмаст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оэффициенті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6,8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,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26,9 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88767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не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тысушыларға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мсызданд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ер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ұсын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71407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иректорлар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ңесіндег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йелдерді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зең-кезеңм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рттыр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0,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0%</a:t>
                      </a: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45049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Ұйымны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рылымдық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өлімшелеріндег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асшы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йелдерді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зең-кезеңм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рттыр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3,3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7,7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665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51233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86083" y="146384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 ҚАМТЫЛҒАН ХАЛЫҚТЫ МІНДЕТТІ ӘЛЕУМЕТТІК САҚТАНДЫРУ ЖҮЙЕСІМЕН ҚАМТУ КӨРСЕТКІШІ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236" y="8806256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796524-4307-4D37-8C38-020EFC7CBCC2}"/>
              </a:ext>
            </a:extLst>
          </p:cNvPr>
          <p:cNvSpPr/>
          <p:nvPr/>
        </p:nvSpPr>
        <p:spPr>
          <a:xfrm>
            <a:off x="86083" y="927023"/>
            <a:ext cx="2051061" cy="8131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 908 027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дег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4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3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нге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B38F978-26CC-461E-95BB-FBDE0CB8951A}"/>
              </a:ext>
            </a:extLst>
          </p:cNvPr>
          <p:cNvSpPr/>
          <p:nvPr/>
        </p:nvSpPr>
        <p:spPr>
          <a:xfrm>
            <a:off x="2330404" y="927023"/>
            <a:ext cx="4272415" cy="3259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 кодексіне сәйкес </a:t>
            </a:r>
            <a:b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3 жылы Қазақстан Республикасының азаматтары, қандастар, Қазақстан Республикасы аумағында тұрақты тұратын шетелдіктер мен азаматтығы жоқ адамдар қатарынан мынадай санаттар міндетті әлеуметтік сақтандыруға жатады:</a:t>
            </a:r>
          </a:p>
          <a:p>
            <a:pPr indent="265113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) қызметкерлер, оның ішінде Қазақстан Республикасындағы халықаралық ұйымдардың өкілдіктерінде, Қазақстан Республикасында аккредиттелген шет мемлекеттердің дипломатиялық өкілдіктерінде және консулдық мекемелерінде еңбек қызметін жүзеге асыратын қызметкерлер;</a:t>
            </a:r>
          </a:p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) дара кәсіпкерлер, оның ішінде шаруа немесе фермер қожалықтарының басшылары, сондай-ақ он сегіз жасқа толған олардың мүшелері;</a:t>
            </a:r>
          </a:p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) жеке практикамен айналысатын адамдар;</a:t>
            </a:r>
          </a:p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) бірыңғай жиынтық төлемді төлеушілер болып табылатын жеке тұлғалар;</a:t>
            </a:r>
          </a:p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) жүріп-тұруы қиын бірінші топтағы мүгедектігі бар адамды алып жүру және объектілерге барған кезде көмек көрсету бойынша қызметтер көрсететін жеке көмекшілер.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41383-BE10-4254-BB3F-A8AD0D620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5036" y="4392860"/>
            <a:ext cx="424272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809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0" algn="ctr"/>
            <a:r>
              <a:rPr lang="ru-RU" altLang="ru-KZ" sz="1050" b="1" dirty="0">
                <a:ea typeface="Times New Roman" panose="02020603050405020304" pitchFamily="18" charset="0"/>
              </a:rPr>
              <a:t>2023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ыл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ұмыспен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амту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санаттар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бөлінісінде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</a:p>
          <a:p>
            <a:pPr lvl="0" indent="0" algn="ctr"/>
            <a:r>
              <a:rPr lang="ru-RU" altLang="ru-KZ" sz="1050" b="1" dirty="0" err="1">
                <a:ea typeface="Times New Roman" panose="02020603050405020304" pitchFamily="18" charset="0"/>
              </a:rPr>
              <a:t>міндетті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әлеуметтік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сақтандыру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үйесіне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атысушылар</a:t>
            </a:r>
            <a:endParaRPr kumimoji="0" lang="ru-RU" altLang="ru-KZ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B8911FEA-4E37-4560-80AB-7A2664909A6C}"/>
              </a:ext>
            </a:extLst>
          </p:cNvPr>
          <p:cNvGraphicFramePr/>
          <p:nvPr>
            <p:extLst/>
          </p:nvPr>
        </p:nvGraphicFramePr>
        <p:xfrm>
          <a:off x="2275036" y="4892761"/>
          <a:ext cx="4411514" cy="2238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DAFB3043-F8B2-4BE2-B089-924B5A55E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0404" y="7421502"/>
            <a:ext cx="441151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266700" algn="just" fontAlgn="base">
              <a:lnSpc>
                <a:spcPts val="1250"/>
              </a:lnSpc>
              <a:spcBef>
                <a:spcPct val="0"/>
              </a:spcBef>
            </a:pP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д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ылымында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п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дамал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ге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есілі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2023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80%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0FE55B1-47E2-4A5D-A969-CC9BD9675582}"/>
              </a:ext>
            </a:extLst>
          </p:cNvPr>
          <p:cNvSpPr/>
          <p:nvPr/>
        </p:nvSpPr>
        <p:spPr>
          <a:xfrm>
            <a:off x="120531" y="6788577"/>
            <a:ext cx="18750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у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 908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,3%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,9%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6" name="Freeform 3447">
            <a:extLst>
              <a:ext uri="{FF2B5EF4-FFF2-40B4-BE49-F238E27FC236}">
                <a16:creationId xmlns:a16="http://schemas.microsoft.com/office/drawing/2014/main" id="{A62CF502-CA08-4099-A60A-5229807009A5}"/>
              </a:ext>
            </a:extLst>
          </p:cNvPr>
          <p:cNvSpPr>
            <a:spLocks noEditPoints="1"/>
          </p:cNvSpPr>
          <p:nvPr/>
        </p:nvSpPr>
        <p:spPr bwMode="auto">
          <a:xfrm>
            <a:off x="703501" y="1298992"/>
            <a:ext cx="816223" cy="783132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79D0541-AFDD-49C4-A65F-3C5C43A33CA8}"/>
              </a:ext>
            </a:extLst>
          </p:cNvPr>
          <p:cNvCxnSpPr>
            <a:cxnSpLocks/>
          </p:cNvCxnSpPr>
          <p:nvPr/>
        </p:nvCxnSpPr>
        <p:spPr>
          <a:xfrm flipV="1">
            <a:off x="10875" y="76966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05A700D-8190-4720-BDF0-80250BA227C3}"/>
              </a:ext>
            </a:extLst>
          </p:cNvPr>
          <p:cNvCxnSpPr/>
          <p:nvPr/>
        </p:nvCxnSpPr>
        <p:spPr>
          <a:xfrm>
            <a:off x="403150" y="3251822"/>
            <a:ext cx="13098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4A5DB7E-A6BB-4705-80C6-CEA99EC258F5}"/>
              </a:ext>
            </a:extLst>
          </p:cNvPr>
          <p:cNvCxnSpPr/>
          <p:nvPr/>
        </p:nvCxnSpPr>
        <p:spPr>
          <a:xfrm>
            <a:off x="456694" y="3868864"/>
            <a:ext cx="13098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393A56F7-58AD-408F-B53A-26F666BED257}"/>
              </a:ext>
            </a:extLst>
          </p:cNvPr>
          <p:cNvCxnSpPr/>
          <p:nvPr/>
        </p:nvCxnSpPr>
        <p:spPr>
          <a:xfrm>
            <a:off x="406123" y="4637333"/>
            <a:ext cx="13098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D001108-3467-4FC7-B769-65DE19C18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4950" y="868613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328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6405" y="87029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 ҚАМТЫЛҒАН ХАЛЫҚТЫ МІНДЕТТІ ӘЛЕУМЕТТІК САҚТАНДЫРУ ЖҮЙЕСІМЕН ҚАМТУ КӨРСЕТКІШІ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F429B5F9-0496-4CC1-8E5C-62DBA3CE9415}"/>
              </a:ext>
            </a:extLst>
          </p:cNvPr>
          <p:cNvSpPr/>
          <p:nvPr/>
        </p:nvSpPr>
        <p:spPr>
          <a:xfrm>
            <a:off x="135670" y="7589561"/>
            <a:ext cx="6434220" cy="1015663"/>
          </a:xfrm>
          <a:prstGeom prst="rect">
            <a:avLst/>
          </a:prstGeom>
          <a:ln>
            <a:solidFill>
              <a:srgbClr val="0D5369"/>
            </a:solidFill>
            <a:prstDash val="dash"/>
          </a:ln>
        </p:spPr>
        <p:txBody>
          <a:bodyPr wrap="square">
            <a:spAutoFit/>
          </a:bodyPr>
          <a:lstStyle/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 бастап бірыңғай төлем енгізілді, оның аясында арнайы салық режимін қолданатын микро және шағын бизнес субъектілері жеке табыс салығы мен әлеуметтік төлемдерді бір төлеммен төлейді;</a:t>
            </a: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 әлеуметтік сақтандыруға жататын адамдардың санаттары кеңейтілді, олардың қатарына бірінші топтағы мүгедектерге әлеуметтік қызметтер көрсететін жеке көмекшілер кірді; </a:t>
            </a: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 ұжымдары мен халық арасында ақпараттық-түсіндіру жұмыстары күшейтілді.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928388A-16E8-4E41-9789-976DC3F8272D}"/>
              </a:ext>
            </a:extLst>
          </p:cNvPr>
          <p:cNvSpPr/>
          <p:nvPr/>
        </p:nvSpPr>
        <p:spPr>
          <a:xfrm>
            <a:off x="710145" y="4010965"/>
            <a:ext cx="577320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 әлеуметтік сақтандыру жүйесіне қатысушыларды әлеуметтік аударымдарды төлеу жиілігі бойынша бөлу </a:t>
            </a:r>
            <a:r>
              <a:rPr lang="kk-KZ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жыл)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82D4C80A-9822-40B4-BBC3-41C27AE53809}"/>
              </a:ext>
            </a:extLst>
          </p:cNvPr>
          <p:cNvSpPr/>
          <p:nvPr/>
        </p:nvSpPr>
        <p:spPr>
          <a:xfrm>
            <a:off x="230181" y="7197798"/>
            <a:ext cx="64342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87313" algn="just"/>
            <a:r>
              <a:rPr lang="kk-KZ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 қатысушылардың 49%-ы үшін 2023 жылы әлеуметтік аударымдар барлық 12 ай үшін төленді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60AD343A-F95A-4FC0-B51F-07C3E6252758}"/>
              </a:ext>
            </a:extLst>
          </p:cNvPr>
          <p:cNvCxnSpPr>
            <a:cxnSpLocks/>
          </p:cNvCxnSpPr>
          <p:nvPr/>
        </p:nvCxnSpPr>
        <p:spPr>
          <a:xfrm flipV="1">
            <a:off x="0" y="67281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81772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3352" y="881772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ee4pHeader1">
            <a:extLst>
              <a:ext uri="{FF2B5EF4-FFF2-40B4-BE49-F238E27FC236}">
                <a16:creationId xmlns:a16="http://schemas.microsoft.com/office/drawing/2014/main" id="{EB470A54-76E6-4131-ACD6-6A81E8467AC5}"/>
              </a:ext>
            </a:extLst>
          </p:cNvPr>
          <p:cNvSpPr txBox="1"/>
          <p:nvPr/>
        </p:nvSpPr>
        <p:spPr>
          <a:xfrm>
            <a:off x="1043672" y="907410"/>
            <a:ext cx="4305861" cy="38534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Жұмыспен қамтылған халықты міндетті әлеуметтік сақтандыру жүйесімен қамту динамикас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94" name="Диаграмма 93">
            <a:extLst>
              <a:ext uri="{FF2B5EF4-FFF2-40B4-BE49-F238E27FC236}">
                <a16:creationId xmlns:a16="http://schemas.microsoft.com/office/drawing/2014/main" id="{4186F6B3-81E1-453A-8269-C6F3456AC50D}"/>
              </a:ext>
            </a:extLst>
          </p:cNvPr>
          <p:cNvGraphicFramePr/>
          <p:nvPr>
            <p:extLst/>
          </p:nvPr>
        </p:nvGraphicFramePr>
        <p:xfrm>
          <a:off x="900857" y="1371600"/>
          <a:ext cx="4903846" cy="2497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4CF8E20F-F62B-4EB2-8E8C-17BAD77886A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300276" y="4436985"/>
          <a:ext cx="4563314" cy="2799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47346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867</TotalTime>
  <Words>9304</Words>
  <Application>Microsoft Office PowerPoint</Application>
  <PresentationFormat>Экран (4:3)</PresentationFormat>
  <Paragraphs>1147</Paragraphs>
  <Slides>4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53" baseType="lpstr">
      <vt:lpstr>Arial</vt:lpstr>
      <vt:lpstr>Calibri</vt:lpstr>
      <vt:lpstr>Calibri Light</vt:lpstr>
      <vt:lpstr>Impact</vt:lpstr>
      <vt:lpstr>Times New Roman</vt:lpstr>
      <vt:lpstr>Verdana</vt:lpstr>
      <vt:lpstr>Wingdings</vt:lpstr>
      <vt:lpstr>ТИТУЛЫ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Алдабергенова Акботи Нуркетаевна</cp:lastModifiedBy>
  <cp:revision>638</cp:revision>
  <cp:lastPrinted>2024-06-18T12:41:08Z</cp:lastPrinted>
  <dcterms:created xsi:type="dcterms:W3CDTF">2018-04-24T06:31:58Z</dcterms:created>
  <dcterms:modified xsi:type="dcterms:W3CDTF">2024-12-04T07:22:27Z</dcterms:modified>
</cp:coreProperties>
</file>